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66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66" r:id="rId3"/>
  </p:sldMasterIdLst>
  <p:notesMasterIdLst>
    <p:notesMasterId r:id="rId28"/>
  </p:notesMasterIdLst>
  <p:sldIdLst>
    <p:sldId id="263" r:id="rId4"/>
    <p:sldId id="265" r:id="rId5"/>
    <p:sldId id="266" r:id="rId6"/>
    <p:sldId id="267" r:id="rId7"/>
    <p:sldId id="280" r:id="rId8"/>
    <p:sldId id="281" r:id="rId9"/>
    <p:sldId id="282" r:id="rId10"/>
    <p:sldId id="283" r:id="rId11"/>
    <p:sldId id="279" r:id="rId12"/>
    <p:sldId id="284" r:id="rId13"/>
    <p:sldId id="285" r:id="rId14"/>
    <p:sldId id="286" r:id="rId15"/>
    <p:sldId id="278" r:id="rId16"/>
    <p:sldId id="289" r:id="rId17"/>
    <p:sldId id="290" r:id="rId18"/>
    <p:sldId id="291" r:id="rId19"/>
    <p:sldId id="287" r:id="rId20"/>
    <p:sldId id="292" r:id="rId21"/>
    <p:sldId id="293" r:id="rId22"/>
    <p:sldId id="297" r:id="rId23"/>
    <p:sldId id="296" r:id="rId24"/>
    <p:sldId id="295" r:id="rId25"/>
    <p:sldId id="274" r:id="rId26"/>
    <p:sldId id="288" r:id="rId27"/>
  </p:sldIdLst>
  <p:sldSz cx="12192000" cy="6858000"/>
  <p:notesSz cx="6805613" cy="9944100"/>
  <p:defaultTextStyle>
    <a:defPPr>
      <a:defRPr lang="nl-B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69" autoAdjust="0"/>
    <p:restoredTop sz="94660"/>
  </p:normalViewPr>
  <p:slideViewPr>
    <p:cSldViewPr snapToGrid="0">
      <p:cViewPr varScale="1">
        <p:scale>
          <a:sx n="92" d="100"/>
          <a:sy n="92" d="100"/>
        </p:scale>
        <p:origin x="245" y="77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microsoft.com/office/2015/10/relationships/revisionInfo" Target="revisionInfo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tableStyles" Target="tableStyle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4939" y="0"/>
            <a:ext cx="2949099" cy="4989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1AB79F-175C-4855-9111-2C23B9008117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B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0562" y="4785598"/>
            <a:ext cx="5444490" cy="3915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B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4939" y="9445170"/>
            <a:ext cx="2949099" cy="49893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237A85-BB09-4ADA-9AAF-9E48F09C7C10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55162621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r>
              <a:rPr lang="de-DE" dirty="0"/>
              <a:t>Batterie Li-Ion Hochvoltbatterie 323V /3x25 Ah mit 264 Zellen und einer Kapazität von 24,22 kWh. Das Gewicht der Hochvoltbatterie beträgt 318 kg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026EB5-445B-4ACD-9567-5CC84FB3DE9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84559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026EB5-445B-4ACD-9567-5CC84FB3DE9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625899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1" i="0" u="none" strike="noStrike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imerladetaster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: Funktionsbeleuchtung im Modus </a:t>
            </a:r>
            <a:r>
              <a:rPr lang="de-DE" sz="1200" b="0" i="0" u="none" strike="noStrike" kern="1200" baseline="0" dirty="0" err="1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Timerladen</a:t>
            </a:r>
            <a:r>
              <a:rPr lang="de-DE" sz="1200" b="0" i="0" u="none" strike="noStrike" kern="1200" baseline="0" dirty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r>
              <a:rPr lang="de-DE" b="1" dirty="0"/>
              <a:t>Sofortladetaster</a:t>
            </a:r>
            <a:r>
              <a:rPr lang="de-DE" dirty="0"/>
              <a:t>: Funktionsbeleuchtung im Modus Sofortladen </a:t>
            </a:r>
          </a:p>
          <a:p>
            <a:r>
              <a:rPr lang="de-DE" dirty="0"/>
              <a:t>Es ist immer eine Taster funktionsbeleuchtet wenn der Ladestecker </a:t>
            </a:r>
            <a:br>
              <a:rPr lang="de-DE" dirty="0"/>
            </a:br>
            <a:r>
              <a:rPr lang="de-DE" dirty="0"/>
              <a:t>verriegelt ist. </a:t>
            </a:r>
            <a:br>
              <a:rPr lang="de-DE" dirty="0"/>
            </a:br>
            <a:r>
              <a:rPr lang="de-DE" dirty="0"/>
              <a:t>Durch drücken auf einen nicht beleuchteten Taster wird in den</a:t>
            </a:r>
            <a:br>
              <a:rPr lang="de-DE" dirty="0"/>
            </a:br>
            <a:r>
              <a:rPr lang="de-DE" dirty="0"/>
              <a:t>entsprechenden Lademodus gewechselt.</a:t>
            </a:r>
          </a:p>
          <a:p>
            <a:r>
              <a:rPr lang="de-DE" dirty="0"/>
              <a:t>Durch drücken auf beleuchtete Taster wird  der Lademodus unterbrochen und der Stecker für 30 Sekunden entriegelt.  </a:t>
            </a:r>
          </a:p>
          <a:p>
            <a:endParaRPr lang="de-DE" dirty="0"/>
          </a:p>
          <a:p>
            <a:endParaRPr lang="de-DE" dirty="0"/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6026EB5-445B-4ACD-9567-5CC84FB3DE90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7550400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74AE56-81D0-4A3F-8E59-05C90E2FD7C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62D75D7-8EC9-43F3-AE39-055D1AAEAF3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7F6ED4-28BB-4A48-9A56-0A86406AF47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AC7964A-201C-4D81-87A5-38C80F0634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CA70DA8-840E-4FAA-A591-EC31D0336B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0337644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B62614-A4DB-41C8-936B-2FAAD85504B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FB0455E-DFEF-4A85-AEB0-A22E684D92B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61FCD94-8169-420D-8B6C-963413D2B3F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67285B-AC1D-4D98-8116-316B0D3479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FCABCFF-C540-4002-8022-A185CF6283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60259885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FC0A8EA-F17A-4134-AB2A-123C2E347C6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5BD37E9-0FC0-4572-9595-490E312497E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B77164-F5EC-4CF2-B65D-EDAC78C710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4D6AA2C-B5BB-4B87-9A72-7ED59889D4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D096297-96C3-4759-A882-BB134A9706D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9736930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4326" y="3425928"/>
            <a:ext cx="11243380" cy="589709"/>
          </a:xfrm>
          <a:prstGeom prst="rect">
            <a:avLst/>
          </a:prstGeom>
        </p:spPr>
        <p:txBody>
          <a:bodyPr lIns="0" tIns="45720" rIns="0" bIns="45720" anchor="b" anchorCtr="0">
            <a:normAutofit/>
          </a:bodyPr>
          <a:lstStyle>
            <a:lvl1pPr>
              <a:defRPr sz="2659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4326" y="4015637"/>
            <a:ext cx="11255141" cy="539163"/>
          </a:xfrm>
          <a:prstGeom prst="rect">
            <a:avLst/>
          </a:prstGeom>
        </p:spPr>
        <p:txBody>
          <a:bodyPr lIns="0" rIns="0">
            <a:normAutofit/>
          </a:bodyPr>
          <a:lstStyle>
            <a:lvl1pPr marL="0" indent="0" algn="l">
              <a:buNone/>
              <a:defRPr sz="2279">
                <a:solidFill>
                  <a:srgbClr val="666666"/>
                </a:solidFill>
              </a:defRPr>
            </a:lvl1pPr>
            <a:lvl2pPr marL="4658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31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976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63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3294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953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612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7271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1" y="6555697"/>
            <a:ext cx="12192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0650759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869" y="1508"/>
          <a:ext cx="1868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869" y="1508"/>
                        <a:ext cx="1868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086851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able Placeholder 3"/>
          <p:cNvSpPr>
            <a:spLocks noGrp="1"/>
          </p:cNvSpPr>
          <p:nvPr>
            <p:ph type="tbl" sz="quarter" idx="10"/>
          </p:nvPr>
        </p:nvSpPr>
        <p:spPr>
          <a:xfrm>
            <a:off x="470136" y="1306078"/>
            <a:ext cx="11251730" cy="509677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altLang="zh-CN" sz="2279" kern="1200" baseline="0" noProof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256365" lvl="0" indent="-257754" algn="l" defTabSz="931531" rtl="0" eaLnBrk="1" fontAlgn="base" latinLnBrk="0" hangingPunct="1">
              <a:lnSpc>
                <a:spcPct val="150000"/>
              </a:lnSpc>
              <a:spcBef>
                <a:spcPts val="570"/>
              </a:spcBef>
              <a:spcAft>
                <a:spcPct val="0"/>
              </a:spcAft>
              <a:buClr>
                <a:schemeClr val="tx1"/>
              </a:buClr>
              <a:buSzPct val="100000"/>
              <a:buFont typeface="Verdana" pitchFamily="34" charset="0"/>
              <a:buChar char="•"/>
            </a:pPr>
            <a:r>
              <a:rPr lang="en-US"/>
              <a:t>Click icon to add tabl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224538" y="53577"/>
            <a:ext cx="11574370" cy="834431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36341081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Page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3239785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2025548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8D47737-FAC1-4D4C-AA56-AD761470AADE}" type="datetimeFigureOut">
              <a:rPr lang="nl-NL" smtClean="0"/>
              <a:t>16-4-2018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072B60-1347-4D6A-86B4-B17E6E0D7515}" type="slidenum">
              <a:rPr lang="nl-NL" smtClean="0"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1726190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2679439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73089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EDC6BB-42E4-40EA-A924-E2DB9F5F1F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D7781B8-B727-4671-9541-9EC3732B04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348357-3AE6-4EE4-B3E0-B6375D0EDD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629B29-C9B3-4ADC-9CBA-CB2A61C54F2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03D4188-E017-4F8C-98FB-E8190C7C5A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86291915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464377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7264089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0455392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867233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  <p:cxnSp>
        <p:nvCxnSpPr>
          <p:cNvPr id="5" name="Connecteur droit 23"/>
          <p:cNvCxnSpPr/>
          <p:nvPr userDrawn="1"/>
        </p:nvCxnSpPr>
        <p:spPr>
          <a:xfrm>
            <a:off x="10156863" y="558800"/>
            <a:ext cx="0" cy="705868"/>
          </a:xfrm>
          <a:prstGeom prst="line">
            <a:avLst/>
          </a:prstGeom>
          <a:ln w="6350" cap="flat">
            <a:solidFill>
              <a:srgbClr val="048A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0778" y="494680"/>
            <a:ext cx="1386445" cy="84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98117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3573051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B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487482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19125277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fr-BE"/>
              <a:t>BVD/Colruyt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</p:spTree>
    <p:extLst>
      <p:ext uri="{BB962C8B-B14F-4D97-AF65-F5344CB8AC3E}">
        <p14:creationId xmlns:p14="http://schemas.microsoft.com/office/powerpoint/2010/main" val="388642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à coins arrondis 5"/>
          <p:cNvSpPr/>
          <p:nvPr userDrawn="1"/>
        </p:nvSpPr>
        <p:spPr>
          <a:xfrm>
            <a:off x="372533" y="266701"/>
            <a:ext cx="11446935" cy="6323013"/>
          </a:xfrm>
          <a:prstGeom prst="roundRect">
            <a:avLst>
              <a:gd name="adj" fmla="val 0"/>
            </a:avLst>
          </a:prstGeom>
          <a:solidFill>
            <a:srgbClr val="04628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800"/>
          </a:p>
        </p:txBody>
      </p:sp>
      <p:sp>
        <p:nvSpPr>
          <p:cNvPr id="8" name="Espace réservé du texte 2"/>
          <p:cNvSpPr>
            <a:spLocks noGrp="1"/>
          </p:cNvSpPr>
          <p:nvPr>
            <p:ph type="body" sz="quarter" idx="22" hasCustomPrompt="1"/>
          </p:nvPr>
        </p:nvSpPr>
        <p:spPr>
          <a:xfrm>
            <a:off x="6999111" y="6085417"/>
            <a:ext cx="4820356" cy="504297"/>
          </a:xfrm>
        </p:spPr>
        <p:txBody>
          <a:bodyPr>
            <a:noAutofit/>
          </a:bodyPr>
          <a:lstStyle>
            <a:lvl1pPr marL="0" indent="0" algn="r">
              <a:buNone/>
              <a:defRPr sz="1200" b="1">
                <a:solidFill>
                  <a:schemeClr val="bg1"/>
                </a:solidFill>
                <a:latin typeface="Arial"/>
                <a:cs typeface="Arial"/>
              </a:defRPr>
            </a:lvl1pPr>
            <a:lvl2pPr algn="r">
              <a:defRPr sz="1200">
                <a:solidFill>
                  <a:schemeClr val="bg1"/>
                </a:solidFill>
                <a:latin typeface="Arial"/>
                <a:cs typeface="Arial"/>
              </a:defRPr>
            </a:lvl2pPr>
            <a:lvl3pPr algn="r">
              <a:defRPr sz="1200">
                <a:solidFill>
                  <a:schemeClr val="bg1"/>
                </a:solidFill>
                <a:latin typeface="Arial"/>
                <a:cs typeface="Arial"/>
              </a:defRPr>
            </a:lvl3pPr>
            <a:lvl4pPr algn="r">
              <a:defRPr sz="1200">
                <a:solidFill>
                  <a:schemeClr val="bg1"/>
                </a:solidFill>
                <a:latin typeface="Arial"/>
                <a:cs typeface="Arial"/>
              </a:defRPr>
            </a:lvl4pPr>
            <a:lvl5pPr algn="r">
              <a:defRPr sz="1200">
                <a:solidFill>
                  <a:schemeClr val="bg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nl-BE" dirty="0"/>
              <a:t>Nom Prénom</a:t>
            </a:r>
          </a:p>
          <a:p>
            <a:pPr lvl="0"/>
            <a:r>
              <a:rPr lang="nl-BE" dirty="0"/>
              <a:t>xx/xx/xxxx</a:t>
            </a:r>
            <a:endParaRPr lang="fr-FR" dirty="0"/>
          </a:p>
        </p:txBody>
      </p:sp>
      <p:sp>
        <p:nvSpPr>
          <p:cNvPr id="9" name="Espace réservé du texte 4"/>
          <p:cNvSpPr>
            <a:spLocks noGrp="1"/>
          </p:cNvSpPr>
          <p:nvPr>
            <p:ph type="body" sz="quarter" idx="23" hasCustomPrompt="1"/>
          </p:nvPr>
        </p:nvSpPr>
        <p:spPr>
          <a:xfrm>
            <a:off x="398404" y="2630132"/>
            <a:ext cx="8538633" cy="2082800"/>
          </a:xfrm>
        </p:spPr>
        <p:txBody>
          <a:bodyPr>
            <a:normAutofit/>
          </a:bodyPr>
          <a:lstStyle>
            <a:lvl1pPr marL="0" indent="0">
              <a:buNone/>
              <a:defRPr sz="4500" b="1" cap="all">
                <a:solidFill>
                  <a:srgbClr val="CEDB2D"/>
                </a:solidFill>
                <a:latin typeface="Bookman Old Style"/>
                <a:cs typeface="Bookman Old Style"/>
              </a:defRPr>
            </a:lvl1pPr>
          </a:lstStyle>
          <a:p>
            <a:pPr lvl="0"/>
            <a:r>
              <a:rPr lang="nl-BE" dirty="0"/>
              <a:t>TITRE DE LA PRESENTATION</a:t>
            </a:r>
            <a:endParaRPr lang="fr-FR" dirty="0"/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9239" y="569350"/>
            <a:ext cx="1132213" cy="695589"/>
          </a:xfrm>
          <a:prstGeom prst="rect">
            <a:avLst/>
          </a:prstGeom>
        </p:spPr>
      </p:pic>
      <p:sp>
        <p:nvSpPr>
          <p:cNvPr id="14" name="Espace réservé pour une image  16"/>
          <p:cNvSpPr>
            <a:spLocks noGrp="1"/>
          </p:cNvSpPr>
          <p:nvPr>
            <p:ph type="pic" sz="quarter" idx="21"/>
          </p:nvPr>
        </p:nvSpPr>
        <p:spPr>
          <a:xfrm>
            <a:off x="8892117" y="566738"/>
            <a:ext cx="1066800" cy="6985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endParaRPr lang="fr-FR" dirty="0"/>
          </a:p>
        </p:txBody>
      </p:sp>
      <p:cxnSp>
        <p:nvCxnSpPr>
          <p:cNvPr id="15" name="Connecteur droit 14"/>
          <p:cNvCxnSpPr/>
          <p:nvPr userDrawn="1"/>
        </p:nvCxnSpPr>
        <p:spPr>
          <a:xfrm>
            <a:off x="10156863" y="558800"/>
            <a:ext cx="0" cy="705868"/>
          </a:xfrm>
          <a:prstGeom prst="line">
            <a:avLst/>
          </a:prstGeom>
          <a:ln w="6350" cap="flat">
            <a:solidFill>
              <a:schemeClr val="bg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19252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CBAB2B-8BFB-4009-BE61-3CFB3020DE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3525CEE-5590-4539-AE12-9C8B2A5542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9B70C50-DBFE-4D31-9630-EE6CF0CACB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C27142F-A344-4808-98E2-C3741AC171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738B1E-7F32-4136-B7F9-47FF4B5587F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47434125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Espace réservé du texte 11"/>
          <p:cNvSpPr>
            <a:spLocks noGrp="1"/>
          </p:cNvSpPr>
          <p:nvPr>
            <p:ph type="body" sz="quarter" idx="12" hasCustomPrompt="1"/>
          </p:nvPr>
        </p:nvSpPr>
        <p:spPr>
          <a:xfrm>
            <a:off x="417600" y="3121200"/>
            <a:ext cx="11774400" cy="1940400"/>
          </a:xfrm>
        </p:spPr>
        <p:txBody>
          <a:bodyPr>
            <a:normAutofit/>
          </a:bodyPr>
          <a:lstStyle>
            <a:lvl1pPr marL="176213" indent="-176213">
              <a:buClr>
                <a:srgbClr val="CEDB2D"/>
              </a:buClr>
              <a:buFont typeface="Wingdings" charset="2"/>
              <a:buChar char="§"/>
              <a:defRPr sz="1800">
                <a:solidFill>
                  <a:schemeClr val="tx1"/>
                </a:solidFill>
                <a:latin typeface=""/>
              </a:defRPr>
            </a:lvl1pPr>
            <a:lvl2pPr>
              <a:defRPr sz="1800">
                <a:solidFill>
                  <a:schemeClr val="bg1"/>
                </a:solidFill>
                <a:latin typeface=""/>
              </a:defRPr>
            </a:lvl2pPr>
            <a:lvl3pPr>
              <a:defRPr sz="1800">
                <a:solidFill>
                  <a:schemeClr val="bg1"/>
                </a:solidFill>
                <a:latin typeface=""/>
              </a:defRPr>
            </a:lvl3pPr>
            <a:lvl4pPr>
              <a:defRPr sz="1800">
                <a:solidFill>
                  <a:schemeClr val="bg1"/>
                </a:solidFill>
                <a:latin typeface=""/>
              </a:defRPr>
            </a:lvl4pPr>
            <a:lvl5pPr>
              <a:defRPr sz="1800">
                <a:solidFill>
                  <a:schemeClr val="bg1"/>
                </a:solidFill>
                <a:latin typeface=""/>
              </a:defRPr>
            </a:lvl5pPr>
          </a:lstStyle>
          <a:p>
            <a:pPr lvl="0"/>
            <a:r>
              <a:rPr lang="nl-BE" dirty="0"/>
              <a:t>Contenu en bullet points</a:t>
            </a:r>
          </a:p>
          <a:p>
            <a:pPr lvl="0"/>
            <a:r>
              <a:rPr lang="nl-BE" dirty="0"/>
              <a:t>Première ligne de bullet</a:t>
            </a:r>
          </a:p>
          <a:p>
            <a:pPr lvl="0"/>
            <a:r>
              <a:rPr lang="nl-BE" dirty="0"/>
              <a:t>Deuxième ligne de bullet</a:t>
            </a:r>
          </a:p>
          <a:p>
            <a:pPr lvl="0"/>
            <a:r>
              <a:rPr lang="nl-BE" dirty="0"/>
              <a:t>Troisième ligne de bullet</a:t>
            </a:r>
          </a:p>
          <a:p>
            <a:pPr lvl="0"/>
            <a:r>
              <a:rPr lang="nl-BE" dirty="0"/>
              <a:t>…</a:t>
            </a:r>
            <a:endParaRPr lang="fr-FR" dirty="0"/>
          </a:p>
        </p:txBody>
      </p:sp>
      <p:sp>
        <p:nvSpPr>
          <p:cNvPr id="17" name="Espace réservé pour une image  16"/>
          <p:cNvSpPr>
            <a:spLocks noGrp="1"/>
          </p:cNvSpPr>
          <p:nvPr>
            <p:ph type="pic" sz="quarter" idx="20"/>
          </p:nvPr>
        </p:nvSpPr>
        <p:spPr>
          <a:xfrm>
            <a:off x="8892117" y="566738"/>
            <a:ext cx="1066800" cy="6985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22" name="Espace réservé du texte 15"/>
          <p:cNvSpPr>
            <a:spLocks noGrp="1"/>
          </p:cNvSpPr>
          <p:nvPr>
            <p:ph type="body" sz="quarter" idx="19" hasCustomPrompt="1"/>
          </p:nvPr>
        </p:nvSpPr>
        <p:spPr>
          <a:xfrm>
            <a:off x="347030" y="568489"/>
            <a:ext cx="1207484" cy="655637"/>
          </a:xfrm>
        </p:spPr>
        <p:txBody>
          <a:bodyPr>
            <a:noAutofit/>
          </a:bodyPr>
          <a:lstStyle>
            <a:lvl1pPr marL="0" indent="0" algn="r">
              <a:buNone/>
              <a:defRPr sz="3500">
                <a:solidFill>
                  <a:schemeClr val="bg1"/>
                </a:solidFill>
                <a:latin typeface="Arial"/>
                <a:cs typeface="Arial"/>
              </a:defRPr>
            </a:lvl1pPr>
            <a:lvl2pPr>
              <a:defRPr sz="3500">
                <a:solidFill>
                  <a:schemeClr val="bg1"/>
                </a:solidFill>
                <a:latin typeface="Arial"/>
                <a:cs typeface="Arial"/>
              </a:defRPr>
            </a:lvl2pPr>
            <a:lvl3pPr>
              <a:defRPr sz="3500">
                <a:solidFill>
                  <a:schemeClr val="bg1"/>
                </a:solidFill>
                <a:latin typeface="Arial"/>
                <a:cs typeface="Arial"/>
              </a:defRPr>
            </a:lvl3pPr>
            <a:lvl4pPr>
              <a:defRPr sz="3500">
                <a:solidFill>
                  <a:schemeClr val="bg1"/>
                </a:solidFill>
                <a:latin typeface="Arial"/>
                <a:cs typeface="Arial"/>
              </a:defRPr>
            </a:lvl4pPr>
            <a:lvl5pPr>
              <a:defRPr sz="3500">
                <a:solidFill>
                  <a:schemeClr val="bg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nl-BE" dirty="0"/>
              <a:t>#.</a:t>
            </a:r>
            <a:endParaRPr lang="fr-FR" dirty="0"/>
          </a:p>
        </p:txBody>
      </p:sp>
      <p:sp>
        <p:nvSpPr>
          <p:cNvPr id="23" name="Espace réservé du texte 12"/>
          <p:cNvSpPr>
            <a:spLocks noGrp="1"/>
          </p:cNvSpPr>
          <p:nvPr>
            <p:ph type="body" sz="quarter" idx="11" hasCustomPrompt="1"/>
          </p:nvPr>
        </p:nvSpPr>
        <p:spPr>
          <a:xfrm>
            <a:off x="378885" y="1870076"/>
            <a:ext cx="8513233" cy="1014413"/>
          </a:xfrm>
        </p:spPr>
        <p:txBody>
          <a:bodyPr>
            <a:normAutofit/>
          </a:bodyPr>
          <a:lstStyle>
            <a:lvl1pPr marL="0" indent="0">
              <a:buNone/>
              <a:defRPr sz="2500" b="1" baseline="0">
                <a:solidFill>
                  <a:srgbClr val="CEDB2D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nl-BE" dirty="0"/>
              <a:t>Sous-titre du slide</a:t>
            </a:r>
            <a:endParaRPr lang="fr-FR" dirty="0"/>
          </a:p>
        </p:txBody>
      </p:sp>
      <p:cxnSp>
        <p:nvCxnSpPr>
          <p:cNvPr id="24" name="Connecteur droit 23"/>
          <p:cNvCxnSpPr/>
          <p:nvPr userDrawn="1"/>
        </p:nvCxnSpPr>
        <p:spPr>
          <a:xfrm>
            <a:off x="10156863" y="558800"/>
            <a:ext cx="0" cy="705868"/>
          </a:xfrm>
          <a:prstGeom prst="line">
            <a:avLst/>
          </a:prstGeom>
          <a:ln w="6350" cap="flat">
            <a:solidFill>
              <a:srgbClr val="048A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5" name="Espace réservé du texte 10"/>
          <p:cNvSpPr>
            <a:spLocks noGrp="1"/>
          </p:cNvSpPr>
          <p:nvPr>
            <p:ph type="body" sz="quarter" idx="10" hasCustomPrompt="1"/>
          </p:nvPr>
        </p:nvSpPr>
        <p:spPr>
          <a:xfrm>
            <a:off x="1487665" y="356292"/>
            <a:ext cx="8472000" cy="1015663"/>
          </a:xfrm>
          <a:noFill/>
        </p:spPr>
        <p:txBody>
          <a:bodyPr wrap="square" rtlCol="0" anchor="ctr">
            <a:spAutoFit/>
          </a:bodyPr>
          <a:lstStyle>
            <a:lvl1pPr marL="0" indent="0">
              <a:spcBef>
                <a:spcPts val="0"/>
              </a:spcBef>
              <a:buNone/>
              <a:defRPr lang="nl-BE" sz="2900" b="1" cap="all" baseline="0" smtClean="0">
                <a:solidFill>
                  <a:srgbClr val="0097C3"/>
                </a:solidFill>
                <a:latin typeface="Bookman Old Style"/>
                <a:cs typeface="Bookman Old Style"/>
              </a:defRPr>
            </a:lvl1pPr>
            <a:lvl2pPr>
              <a:defRPr lang="nl-BE" sz="1800" smtClean="0"/>
            </a:lvl2pPr>
            <a:lvl3pPr>
              <a:defRPr lang="nl-BE" sz="1800" smtClean="0"/>
            </a:lvl3pPr>
            <a:lvl4pPr>
              <a:defRPr lang="nl-BE" sz="1800" smtClean="0"/>
            </a:lvl4pPr>
            <a:lvl5pPr>
              <a:defRPr lang="fr-FR" sz="1800"/>
            </a:lvl5pPr>
          </a:lstStyle>
          <a:p>
            <a:pPr marL="0" lvl="0"/>
            <a:r>
              <a:rPr lang="nl-BE" dirty="0"/>
              <a:t>TITRE DU SLIDE</a:t>
            </a:r>
          </a:p>
          <a:p>
            <a:pPr marL="0" lvl="0"/>
            <a:r>
              <a:rPr lang="nl-BE" dirty="0"/>
              <a:t>En 2 lignes</a:t>
            </a:r>
            <a:endParaRPr lang="fr-FR" dirty="0"/>
          </a:p>
        </p:txBody>
      </p:sp>
      <p:pic>
        <p:nvPicPr>
          <p:cNvPr id="13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0778" y="494680"/>
            <a:ext cx="1386445" cy="84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7391446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ClipArt">
  <p:cSld name="Title, Text and Clip 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1" y="898531"/>
            <a:ext cx="11205307" cy="684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82601" y="1757363"/>
            <a:ext cx="5507892" cy="45894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lipArt Placeholder 3"/>
          <p:cNvSpPr>
            <a:spLocks noGrp="1"/>
          </p:cNvSpPr>
          <p:nvPr>
            <p:ph type="clipArt" sz="half" idx="2"/>
          </p:nvPr>
        </p:nvSpPr>
        <p:spPr>
          <a:xfrm>
            <a:off x="6178070" y="1757363"/>
            <a:ext cx="5509847" cy="4589462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0785231" y="6548454"/>
            <a:ext cx="902677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74B27FF2-CAF3-410D-8B8D-BEB13942ED8A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586900" y="6548454"/>
            <a:ext cx="3598984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BVD/Colruyt2013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>
          <a:xfrm>
            <a:off x="490418" y="6548454"/>
            <a:ext cx="2096476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cxnSp>
        <p:nvCxnSpPr>
          <p:cNvPr id="8" name="Connecteur droit 23"/>
          <p:cNvCxnSpPr/>
          <p:nvPr userDrawn="1"/>
        </p:nvCxnSpPr>
        <p:spPr>
          <a:xfrm>
            <a:off x="10156863" y="558800"/>
            <a:ext cx="0" cy="705868"/>
          </a:xfrm>
          <a:prstGeom prst="line">
            <a:avLst/>
          </a:prstGeom>
          <a:ln w="6350" cap="flat">
            <a:solidFill>
              <a:srgbClr val="048A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0778" y="494680"/>
            <a:ext cx="1386445" cy="84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4074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2601" y="898531"/>
            <a:ext cx="11205307" cy="684213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482601" y="1757363"/>
            <a:ext cx="5507892" cy="45894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8070" y="1757363"/>
            <a:ext cx="5509847" cy="4589462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>
          <a:xfrm>
            <a:off x="10785231" y="6548454"/>
            <a:ext cx="902677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8925786A-E684-408D-B109-BE999442924E}" type="slidenum">
              <a:rPr lang="de-DE"/>
              <a:pPr/>
              <a:t>‹#›</a:t>
            </a:fld>
            <a:endParaRPr lang="de-D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586900" y="6548454"/>
            <a:ext cx="3598984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de-DE"/>
              <a:t>BVD/Colruyt2013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2"/>
          </p:nvPr>
        </p:nvSpPr>
        <p:spPr>
          <a:xfrm>
            <a:off x="490418" y="6548454"/>
            <a:ext cx="2096476" cy="179387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de-DE"/>
          </a:p>
        </p:txBody>
      </p:sp>
      <p:cxnSp>
        <p:nvCxnSpPr>
          <p:cNvPr id="8" name="Connecteur droit 23"/>
          <p:cNvCxnSpPr/>
          <p:nvPr userDrawn="1"/>
        </p:nvCxnSpPr>
        <p:spPr>
          <a:xfrm>
            <a:off x="10156863" y="558800"/>
            <a:ext cx="0" cy="705868"/>
          </a:xfrm>
          <a:prstGeom prst="line">
            <a:avLst/>
          </a:prstGeom>
          <a:ln w="6350" cap="flat">
            <a:solidFill>
              <a:srgbClr val="048A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0778" y="494680"/>
            <a:ext cx="1386445" cy="84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79458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288000" y="0"/>
            <a:ext cx="11760000" cy="882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rainingsmodulkürzel</a:t>
            </a:r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288000" y="1357201"/>
            <a:ext cx="11760000" cy="492443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/>
              <a:t>Titel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• VSQ/TT •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8CA1DD-5EE9-4A5C-9460-BBFB000F24F6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897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04.2014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• VSQ/TT •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8CA1DD-5EE9-4A5C-9460-BBFB000F24F6}" type="slidenum">
              <a:rPr lang="de-DE" smtClean="0"/>
              <a:t>‹#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88000" y="982801"/>
            <a:ext cx="11760000" cy="430887"/>
          </a:xfrm>
        </p:spPr>
        <p:txBody>
          <a:bodyPr lIns="0" rIns="0">
            <a:spAutoFit/>
          </a:bodyPr>
          <a:lstStyle>
            <a:lvl1pPr marL="0" indent="0">
              <a:buFontTx/>
              <a:buNone/>
              <a:defRPr sz="2200"/>
            </a:lvl1pPr>
            <a:lvl2pPr>
              <a:defRPr sz="2200"/>
            </a:lvl2pPr>
            <a:lvl3pPr>
              <a:defRPr sz="2200"/>
            </a:lvl3pPr>
            <a:lvl4pPr>
              <a:defRPr sz="2200"/>
            </a:lvl4pPr>
            <a:lvl5pPr>
              <a:defRPr sz="2200"/>
            </a:lvl5pPr>
          </a:lstStyle>
          <a:p>
            <a:pPr lvl="0"/>
            <a:r>
              <a:rPr lang="de-DE" dirty="0"/>
              <a:t>Untertitel</a:t>
            </a:r>
          </a:p>
        </p:txBody>
      </p:sp>
    </p:spTree>
    <p:extLst>
      <p:ext uri="{BB962C8B-B14F-4D97-AF65-F5344CB8AC3E}">
        <p14:creationId xmlns:p14="http://schemas.microsoft.com/office/powerpoint/2010/main" val="20095119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244747-1635-4ED8-90B5-B12189C52A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DDC8098-6224-4DA4-A40E-0100EA6BBAE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E1D70E-9EE5-4ECA-BDAA-595343CF291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9ADE90F-CF45-40EB-A14E-5CAE372ABF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96A9749-1361-4CE3-AF60-CC44995751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A8A4D6-97A6-46F8-A2CC-01E1E4B83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0263868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86F3F1A-C7F6-4BC2-BFFD-A2270F02D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0EB1D87-795F-40B0-9B93-885D93EC88E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B7CBE6-B71F-4759-A885-D68EEFEC03D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D86280-8F7B-41F0-96DA-46426A77447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7A29552-436F-4187-BBE8-649250B25EC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E3A5F93-3B74-448E-80E2-FA696154AD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247D411-22A0-4410-9DC8-B9B379EA64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313BCD5-C540-417F-A2A3-CFA364DE80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56297643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F207BE-D210-4D2C-8A2D-022BEECC25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1A93638-6CB5-40D2-8094-490E29B74D4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43E809-C78A-45E1-A80C-BB89671CF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CED9A67-C897-4906-9B76-A3AC290F93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6631558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AF9751B-34CA-4475-BCF2-89C5DE6D7B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B1BFC5-B96E-4023-8BC4-ED55FE43B7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716DB0-24D4-479C-952E-9F7BE526C0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7960157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257146-F62D-48AD-B0E7-F80CBCF4DF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1D4648-522F-402A-88DD-E25A9B7CB4F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9D9BE51-E6B6-43B1-AA94-2C661CD9A13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1D81817-592D-4B61-BA8B-7035AE8E1E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31037C-7FEF-490E-A41F-44CB622499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0003C8A-4572-4FE4-9231-5F71962B1A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22735781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9922F1E-FC9C-43C1-9C3F-50E2ADF45D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9AC4886-46F6-4EBF-8CD1-579711C842F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l-BE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2BC535-FD7B-43B7-A1CD-8EB8095DD4D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EB116FB-8F16-42D3-A82A-BF045D3316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AA79D0F-7D0E-4CD0-BABC-15E7913805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BE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FB4AED-A718-41F5-8F05-7C964C7C297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1636569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4.xml"/><Relationship Id="rId7" Type="http://schemas.openxmlformats.org/officeDocument/2006/relationships/theme" Target="../theme/theme2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2.jpe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Relationship Id="rId14" Type="http://schemas.openxmlformats.org/officeDocument/2006/relationships/hyperlink" Target="http://zikkir.com/brands/wp-content/themes/directorypress/thumbs/DIeteren-logo.jpg" TargetMode="Externa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6AD49E5-0CD4-4E3E-A612-F88C2DCF57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nl-BE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D965643-4843-4634-8A3F-0CC07D0B1E2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B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DF3C402-4D2D-4748-A3A9-0556E88B440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1861AD-3255-4874-BC1C-1CFF4439BD6E}" type="datetimeFigureOut">
              <a:rPr lang="nl-BE" smtClean="0"/>
              <a:t>16/04/2018</a:t>
            </a:fld>
            <a:endParaRPr lang="nl-B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9D19763-E8D5-4ADA-95B7-E4CC40000F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nl-B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F7C4A1E-DCA2-44DF-8776-472EEF19BE4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7E7C80-92CE-4010-AF5B-75D8B5F33494}" type="slidenum">
              <a:rPr lang="nl-BE" smtClean="0"/>
              <a:t>‹#›</a:t>
            </a:fld>
            <a:endParaRPr lang="nl-BE"/>
          </a:p>
        </p:txBody>
      </p:sp>
    </p:spTree>
    <p:extLst>
      <p:ext uri="{BB962C8B-B14F-4D97-AF65-F5344CB8AC3E}">
        <p14:creationId xmlns:p14="http://schemas.microsoft.com/office/powerpoint/2010/main" val="30253903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B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/>
          </p:nvPr>
        </p:nvGraphicFramePr>
        <p:xfrm>
          <a:off x="1869" y="1508"/>
          <a:ext cx="1868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8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869" y="1508"/>
                        <a:ext cx="1868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Freeform 12"/>
          <p:cNvSpPr/>
          <p:nvPr/>
        </p:nvSpPr>
        <p:spPr>
          <a:xfrm>
            <a:off x="1" y="905107"/>
            <a:ext cx="11824986" cy="126366"/>
          </a:xfrm>
          <a:custGeom>
            <a:avLst/>
            <a:gdLst>
              <a:gd name="connsiteX0" fmla="*/ 0 w 9457509"/>
              <a:gd name="connsiteY0" fmla="*/ 0 h 195943"/>
              <a:gd name="connsiteX1" fmla="*/ 9457509 w 9457509"/>
              <a:gd name="connsiteY1" fmla="*/ 39189 h 195943"/>
              <a:gd name="connsiteX2" fmla="*/ 9353006 w 9457509"/>
              <a:gd name="connsiteY2" fmla="*/ 169817 h 195943"/>
              <a:gd name="connsiteX3" fmla="*/ 0 w 9457509"/>
              <a:gd name="connsiteY3" fmla="*/ 195943 h 195943"/>
              <a:gd name="connsiteX0" fmla="*/ 0 w 9457509"/>
              <a:gd name="connsiteY0" fmla="*/ 0 h 196306"/>
              <a:gd name="connsiteX1" fmla="*/ 9457509 w 9457509"/>
              <a:gd name="connsiteY1" fmla="*/ 39189 h 196306"/>
              <a:gd name="connsiteX2" fmla="*/ 9297557 w 9457509"/>
              <a:gd name="connsiteY2" fmla="*/ 196306 h 196306"/>
              <a:gd name="connsiteX3" fmla="*/ 0 w 9457509"/>
              <a:gd name="connsiteY3" fmla="*/ 195943 h 196306"/>
              <a:gd name="connsiteX0" fmla="*/ 13063 w 9457509"/>
              <a:gd name="connsiteY0" fmla="*/ 4716 h 157117"/>
              <a:gd name="connsiteX1" fmla="*/ 9457509 w 9457509"/>
              <a:gd name="connsiteY1" fmla="*/ 0 h 157117"/>
              <a:gd name="connsiteX2" fmla="*/ 9297557 w 9457509"/>
              <a:gd name="connsiteY2" fmla="*/ 157117 h 157117"/>
              <a:gd name="connsiteX3" fmla="*/ 0 w 9457509"/>
              <a:gd name="connsiteY3" fmla="*/ 156754 h 157117"/>
              <a:gd name="connsiteX0" fmla="*/ 13063 w 9449163"/>
              <a:gd name="connsiteY0" fmla="*/ 0 h 152401"/>
              <a:gd name="connsiteX1" fmla="*/ 9449163 w 9449163"/>
              <a:gd name="connsiteY1" fmla="*/ 0 h 152401"/>
              <a:gd name="connsiteX2" fmla="*/ 9297557 w 9449163"/>
              <a:gd name="connsiteY2" fmla="*/ 152401 h 152401"/>
              <a:gd name="connsiteX3" fmla="*/ 0 w 9449163"/>
              <a:gd name="connsiteY3" fmla="*/ 152038 h 152401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372963 w 9449163"/>
              <a:gd name="connsiteY2" fmla="*/ 152400 h 152400"/>
              <a:gd name="connsiteX3" fmla="*/ 0 w 9449163"/>
              <a:gd name="connsiteY3" fmla="*/ 152038 h 152400"/>
              <a:gd name="connsiteX0" fmla="*/ 13063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12269 w 9449163"/>
              <a:gd name="connsiteY0" fmla="*/ 0 h 152400"/>
              <a:gd name="connsiteX1" fmla="*/ 9449163 w 9449163"/>
              <a:gd name="connsiteY1" fmla="*/ 0 h 152400"/>
              <a:gd name="connsiteX2" fmla="*/ 9415032 w 9449163"/>
              <a:gd name="connsiteY2" fmla="*/ 152400 h 152400"/>
              <a:gd name="connsiteX3" fmla="*/ 0 w 9449163"/>
              <a:gd name="connsiteY3" fmla="*/ 152038 h 152400"/>
              <a:gd name="connsiteX0" fmla="*/ 0 w 9436894"/>
              <a:gd name="connsiteY0" fmla="*/ 0 h 152400"/>
              <a:gd name="connsiteX1" fmla="*/ 9436894 w 9436894"/>
              <a:gd name="connsiteY1" fmla="*/ 0 h 152400"/>
              <a:gd name="connsiteX2" fmla="*/ 9402763 w 9436894"/>
              <a:gd name="connsiteY2" fmla="*/ 152400 h 152400"/>
              <a:gd name="connsiteX3" fmla="*/ 0 w 9436894"/>
              <a:gd name="connsiteY3" fmla="*/ 152038 h 152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436894" h="152400">
                <a:moveTo>
                  <a:pt x="0" y="0"/>
                </a:moveTo>
                <a:lnTo>
                  <a:pt x="9436894" y="0"/>
                </a:lnTo>
                <a:lnTo>
                  <a:pt x="9402763" y="152400"/>
                </a:lnTo>
                <a:lnTo>
                  <a:pt x="0" y="152038"/>
                </a:lnTo>
              </a:path>
            </a:pathLst>
          </a:custGeom>
          <a:solidFill>
            <a:srgbClr val="006393"/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>
              <a:buClrTx/>
            </a:pPr>
            <a:endParaRPr lang="fr-FR" sz="1709">
              <a:solidFill>
                <a:srgbClr val="FFFFFF"/>
              </a:solidFill>
            </a:endParaRPr>
          </a:p>
        </p:txBody>
      </p:sp>
      <p:sp>
        <p:nvSpPr>
          <p:cNvPr id="22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24540" y="53577"/>
            <a:ext cx="11572806" cy="8344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ctr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10"/>
            </p:custDataLst>
          </p:nvPr>
        </p:nvSpPr>
        <p:spPr>
          <a:xfrm>
            <a:off x="470454" y="1287062"/>
            <a:ext cx="11251093" cy="509560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11354852" y="6650240"/>
            <a:ext cx="401029" cy="86818"/>
          </a:xfrm>
          <a:prstGeom prst="round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ctr"/>
            <a:fld id="{BB69BBE8-4DB2-4642-B003-B220ACD5A2FD}" type="slidenum">
              <a:rPr lang="en-US" sz="949" b="1" baseline="0" smtClean="0">
                <a:solidFill>
                  <a:srgbClr val="080808"/>
                </a:solidFill>
                <a:latin typeface="Verdana" pitchFamily="34" charset="0"/>
              </a:rPr>
              <a:pPr algn="ctr"/>
              <a:t>‹#›</a:t>
            </a:fld>
            <a:endParaRPr lang="fr-FR" sz="949" b="1" dirty="0">
              <a:solidFill>
                <a:srgbClr val="080808"/>
              </a:solidFill>
            </a:endParaRPr>
          </a:p>
        </p:txBody>
      </p:sp>
      <p:cxnSp>
        <p:nvCxnSpPr>
          <p:cNvPr id="28" name="Straight Connector 27"/>
          <p:cNvCxnSpPr/>
          <p:nvPr/>
        </p:nvCxnSpPr>
        <p:spPr>
          <a:xfrm>
            <a:off x="1" y="6555697"/>
            <a:ext cx="12192000" cy="0"/>
          </a:xfrm>
          <a:prstGeom prst="line">
            <a:avLst/>
          </a:prstGeom>
          <a:ln w="12700">
            <a:solidFill>
              <a:srgbClr val="999999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6" name="Notes"/>
          <p:cNvSpPr txBox="1">
            <a:spLocks noChangeArrowheads="1"/>
          </p:cNvSpPr>
          <p:nvPr/>
        </p:nvSpPr>
        <p:spPr bwMode="auto">
          <a:xfrm>
            <a:off x="225980" y="6403071"/>
            <a:ext cx="8193997" cy="146066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0" tIns="0" rIns="0" bIns="0" anchor="b">
            <a:spAutoFit/>
          </a:bodyPr>
          <a:lstStyle/>
          <a:p>
            <a:pPr marL="174850" indent="-174850" defTabSz="836569" fontAlgn="t"/>
            <a:endParaRPr lang="en-CA" sz="949" noProof="0" dirty="0"/>
          </a:p>
        </p:txBody>
      </p:sp>
      <p:sp>
        <p:nvSpPr>
          <p:cNvPr id="10" name="VCT_Marker_ID_10" hidden="1"/>
          <p:cNvSpPr/>
          <p:nvPr>
            <p:custDataLst>
              <p:tags r:id="rId11"/>
            </p:custDataLst>
          </p:nvPr>
        </p:nvSpPr>
        <p:spPr>
          <a:xfrm>
            <a:off x="1494575" y="120580"/>
            <a:ext cx="149458" cy="120580"/>
          </a:xfrm>
          <a:prstGeom prst="rect">
            <a:avLst/>
          </a:prstGeom>
          <a:solidFill>
            <a:schemeClr val="accent1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1899" dirty="0">
              <a:solidFill>
                <a:schemeClr val="tx1"/>
              </a:solidFill>
            </a:endParaRPr>
          </a:p>
        </p:txBody>
      </p:sp>
      <p:pic>
        <p:nvPicPr>
          <p:cNvPr id="12" name="Picture 4" descr="D'Ieteren logo">
            <a:hlinkClick r:id="rId14"/>
          </p:cNvPr>
          <p:cNvPicPr>
            <a:picLocks noChangeAspect="1" noChangeArrowheads="1"/>
          </p:cNvPicPr>
          <p:nvPr userDrawn="1"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672027" y="98613"/>
            <a:ext cx="1101636" cy="7443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89959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84" r:id="rId6"/>
  </p:sldLayoutIdLst>
  <p:hf sldNum="0" hdr="0"/>
  <p:txStyles>
    <p:titleStyle>
      <a:lvl1pPr algn="l" defTabSz="931777" rtl="0" eaLnBrk="1" latinLnBrk="0" hangingPunct="1">
        <a:spcBef>
          <a:spcPct val="0"/>
        </a:spcBef>
        <a:buNone/>
        <a:defRPr sz="246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7754" marR="0" indent="-257754" algn="l" defTabSz="931531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899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545654" marR="0" indent="-113050" algn="l" defTabSz="931531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709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999361" marR="0" indent="-272827" algn="l" defTabSz="931531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709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380474" marR="0" indent="-199691" algn="l" defTabSz="93177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709" kern="1200">
          <a:solidFill>
            <a:schemeClr val="tx1"/>
          </a:solidFill>
          <a:latin typeface="+mn-lt"/>
          <a:ea typeface="+mn-ea"/>
          <a:cs typeface="+mn-cs"/>
        </a:defRPr>
      </a:lvl4pPr>
      <a:lvl5pPr marL="2096498" indent="-232945" algn="l" defTabSz="931777" rtl="0" eaLnBrk="1" latinLnBrk="0" hangingPunct="1">
        <a:spcBef>
          <a:spcPct val="20000"/>
        </a:spcBef>
        <a:buFont typeface="Arial" pitchFamily="34" charset="0"/>
        <a:buChar char="»"/>
        <a:defRPr sz="2279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62386" indent="-232945" algn="l" defTabSz="931777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6pPr>
      <a:lvl7pPr marL="3028275" indent="-232945" algn="l" defTabSz="931777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7pPr>
      <a:lvl8pPr marL="3494163" indent="-232945" algn="l" defTabSz="931777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8pPr>
      <a:lvl9pPr marL="3960051" indent="-232945" algn="l" defTabSz="931777" rtl="0" eaLnBrk="1" latinLnBrk="0" hangingPunct="1">
        <a:spcBef>
          <a:spcPct val="20000"/>
        </a:spcBef>
        <a:buFont typeface="Arial" pitchFamily="34" charset="0"/>
        <a:buChar char="•"/>
        <a:defRPr sz="199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31777" rtl="0" eaLnBrk="1" latinLnBrk="0" hangingPunct="1">
        <a:defRPr sz="1709" kern="1200">
          <a:solidFill>
            <a:schemeClr val="tx1"/>
          </a:solidFill>
          <a:latin typeface="+mn-lt"/>
          <a:ea typeface="+mn-ea"/>
          <a:cs typeface="+mn-cs"/>
        </a:defRPr>
      </a:lvl1pPr>
      <a:lvl2pPr marL="465888" algn="l" defTabSz="931777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2pPr>
      <a:lvl3pPr marL="931777" algn="l" defTabSz="931777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3pPr>
      <a:lvl4pPr marL="1397665" algn="l" defTabSz="931777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4pPr>
      <a:lvl5pPr marL="1863553" algn="l" defTabSz="931777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5pPr>
      <a:lvl6pPr marL="2329442" algn="l" defTabSz="931777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6pPr>
      <a:lvl7pPr marL="2795330" algn="l" defTabSz="931777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7pPr>
      <a:lvl8pPr marL="3261218" algn="l" defTabSz="931777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8pPr>
      <a:lvl9pPr marL="3727107" algn="l" defTabSz="931777" rtl="0" eaLnBrk="1" latinLnBrk="0" hangingPunct="1">
        <a:defRPr sz="180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fr-B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fr-B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B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fr-BE"/>
              <a:t>BVD/Colruyt2013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6A12408-4963-4848-AFCF-5D8C94F3DB73}" type="slidenum">
              <a:rPr lang="fr-BE" smtClean="0"/>
              <a:t>‹#›</a:t>
            </a:fld>
            <a:endParaRPr lang="fr-BE"/>
          </a:p>
        </p:txBody>
      </p:sp>
      <p:cxnSp>
        <p:nvCxnSpPr>
          <p:cNvPr id="7" name="Connecteur droit 23"/>
          <p:cNvCxnSpPr/>
          <p:nvPr userDrawn="1"/>
        </p:nvCxnSpPr>
        <p:spPr>
          <a:xfrm>
            <a:off x="10156863" y="558800"/>
            <a:ext cx="0" cy="705868"/>
          </a:xfrm>
          <a:prstGeom prst="line">
            <a:avLst/>
          </a:prstGeom>
          <a:ln w="6350" cap="flat">
            <a:solidFill>
              <a:srgbClr val="048AC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0778" y="494680"/>
            <a:ext cx="1386445" cy="84080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07968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69" r:id="rId3"/>
    <p:sldLayoutId id="2147483670" r:id="rId4"/>
    <p:sldLayoutId id="2147483671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77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hyperlink" Target="http://zikkir.com/brands/wp-content/themes/directorypress/thumbs/DIeteren-logo.jpg" TargetMode="Externa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3" Type="http://schemas.openxmlformats.org/officeDocument/2006/relationships/tags" Target="../tags/tag24.xml"/><Relationship Id="rId18" Type="http://schemas.openxmlformats.org/officeDocument/2006/relationships/tags" Target="../tags/tag29.xml"/><Relationship Id="rId26" Type="http://schemas.openxmlformats.org/officeDocument/2006/relationships/tags" Target="../tags/tag37.xml"/><Relationship Id="rId39" Type="http://schemas.openxmlformats.org/officeDocument/2006/relationships/tags" Target="../tags/tag50.xml"/><Relationship Id="rId21" Type="http://schemas.openxmlformats.org/officeDocument/2006/relationships/tags" Target="../tags/tag32.xml"/><Relationship Id="rId34" Type="http://schemas.openxmlformats.org/officeDocument/2006/relationships/tags" Target="../tags/tag45.xml"/><Relationship Id="rId42" Type="http://schemas.openxmlformats.org/officeDocument/2006/relationships/tags" Target="../tags/tag53.xml"/><Relationship Id="rId47" Type="http://schemas.openxmlformats.org/officeDocument/2006/relationships/tags" Target="../tags/tag58.xml"/><Relationship Id="rId50" Type="http://schemas.openxmlformats.org/officeDocument/2006/relationships/tags" Target="../tags/tag61.xml"/><Relationship Id="rId55" Type="http://schemas.openxmlformats.org/officeDocument/2006/relationships/image" Target="../media/image19.emf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5" Type="http://schemas.openxmlformats.org/officeDocument/2006/relationships/tags" Target="../tags/tag36.xml"/><Relationship Id="rId33" Type="http://schemas.openxmlformats.org/officeDocument/2006/relationships/tags" Target="../tags/tag44.xml"/><Relationship Id="rId38" Type="http://schemas.openxmlformats.org/officeDocument/2006/relationships/tags" Target="../tags/tag49.xml"/><Relationship Id="rId46" Type="http://schemas.openxmlformats.org/officeDocument/2006/relationships/tags" Target="../tags/tag57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tags" Target="../tags/tag31.xml"/><Relationship Id="rId29" Type="http://schemas.openxmlformats.org/officeDocument/2006/relationships/tags" Target="../tags/tag40.xml"/><Relationship Id="rId41" Type="http://schemas.openxmlformats.org/officeDocument/2006/relationships/tags" Target="../tags/tag52.xml"/><Relationship Id="rId54" Type="http://schemas.openxmlformats.org/officeDocument/2006/relationships/oleObject" Target="../embeddings/oleObject5.bin"/><Relationship Id="rId1" Type="http://schemas.openxmlformats.org/officeDocument/2006/relationships/vmlDrawing" Target="../drawings/vmlDrawing11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24" Type="http://schemas.openxmlformats.org/officeDocument/2006/relationships/tags" Target="../tags/tag35.xml"/><Relationship Id="rId32" Type="http://schemas.openxmlformats.org/officeDocument/2006/relationships/tags" Target="../tags/tag43.xml"/><Relationship Id="rId37" Type="http://schemas.openxmlformats.org/officeDocument/2006/relationships/tags" Target="../tags/tag48.xml"/><Relationship Id="rId40" Type="http://schemas.openxmlformats.org/officeDocument/2006/relationships/tags" Target="../tags/tag51.xml"/><Relationship Id="rId45" Type="http://schemas.openxmlformats.org/officeDocument/2006/relationships/tags" Target="../tags/tag56.xml"/><Relationship Id="rId53" Type="http://schemas.openxmlformats.org/officeDocument/2006/relationships/image" Target="../media/image3.emf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23" Type="http://schemas.openxmlformats.org/officeDocument/2006/relationships/tags" Target="../tags/tag34.xml"/><Relationship Id="rId28" Type="http://schemas.openxmlformats.org/officeDocument/2006/relationships/tags" Target="../tags/tag39.xml"/><Relationship Id="rId36" Type="http://schemas.openxmlformats.org/officeDocument/2006/relationships/tags" Target="../tags/tag47.xml"/><Relationship Id="rId49" Type="http://schemas.openxmlformats.org/officeDocument/2006/relationships/tags" Target="../tags/tag60.xml"/><Relationship Id="rId10" Type="http://schemas.openxmlformats.org/officeDocument/2006/relationships/tags" Target="../tags/tag21.xml"/><Relationship Id="rId19" Type="http://schemas.openxmlformats.org/officeDocument/2006/relationships/tags" Target="../tags/tag30.xml"/><Relationship Id="rId31" Type="http://schemas.openxmlformats.org/officeDocument/2006/relationships/tags" Target="../tags/tag42.xml"/><Relationship Id="rId44" Type="http://schemas.openxmlformats.org/officeDocument/2006/relationships/tags" Target="../tags/tag55.xml"/><Relationship Id="rId52" Type="http://schemas.openxmlformats.org/officeDocument/2006/relationships/oleObject" Target="../embeddings/oleObject4.bin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tags" Target="../tags/tag33.xml"/><Relationship Id="rId27" Type="http://schemas.openxmlformats.org/officeDocument/2006/relationships/tags" Target="../tags/tag38.xml"/><Relationship Id="rId30" Type="http://schemas.openxmlformats.org/officeDocument/2006/relationships/tags" Target="../tags/tag41.xml"/><Relationship Id="rId35" Type="http://schemas.openxmlformats.org/officeDocument/2006/relationships/tags" Target="../tags/tag46.xml"/><Relationship Id="rId43" Type="http://schemas.openxmlformats.org/officeDocument/2006/relationships/tags" Target="../tags/tag54.xml"/><Relationship Id="rId48" Type="http://schemas.openxmlformats.org/officeDocument/2006/relationships/tags" Target="../tags/tag59.xml"/><Relationship Id="rId56" Type="http://schemas.openxmlformats.org/officeDocument/2006/relationships/image" Target="../media/image20.gif"/><Relationship Id="rId8" Type="http://schemas.openxmlformats.org/officeDocument/2006/relationships/tags" Target="../tags/tag19.xml"/><Relationship Id="rId51" Type="http://schemas.openxmlformats.org/officeDocument/2006/relationships/slideLayout" Target="../slideLayouts/slideLayout13.xml"/><Relationship Id="rId3" Type="http://schemas.openxmlformats.org/officeDocument/2006/relationships/tags" Target="../tags/tag1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63.xml"/><Relationship Id="rId7" Type="http://schemas.openxmlformats.org/officeDocument/2006/relationships/image" Target="../media/image21.png"/><Relationship Id="rId2" Type="http://schemas.openxmlformats.org/officeDocument/2006/relationships/tags" Target="../tags/tag62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2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3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png"/><Relationship Id="rId13" Type="http://schemas.openxmlformats.org/officeDocument/2006/relationships/image" Target="../media/image35.png"/><Relationship Id="rId3" Type="http://schemas.openxmlformats.org/officeDocument/2006/relationships/image" Target="../media/image25.jpeg"/><Relationship Id="rId7" Type="http://schemas.openxmlformats.org/officeDocument/2006/relationships/image" Target="../media/image29.png"/><Relationship Id="rId12" Type="http://schemas.openxmlformats.org/officeDocument/2006/relationships/image" Target="../media/image3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28.png"/><Relationship Id="rId11" Type="http://schemas.openxmlformats.org/officeDocument/2006/relationships/image" Target="../media/image33.png"/><Relationship Id="rId5" Type="http://schemas.openxmlformats.org/officeDocument/2006/relationships/image" Target="../media/image27.png"/><Relationship Id="rId10" Type="http://schemas.openxmlformats.org/officeDocument/2006/relationships/image" Target="../media/image32.png"/><Relationship Id="rId4" Type="http://schemas.openxmlformats.org/officeDocument/2006/relationships/image" Target="../media/image26.png"/><Relationship Id="rId9" Type="http://schemas.openxmlformats.org/officeDocument/2006/relationships/image" Target="../media/image31.png"/><Relationship Id="rId14" Type="http://schemas.openxmlformats.org/officeDocument/2006/relationships/image" Target="../media/image36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38.jp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42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17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44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8.jpeg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0.png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9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2.jpeg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1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4.emf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16.emf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5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7.emf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8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79974" y="5359471"/>
            <a:ext cx="8525201" cy="589709"/>
          </a:xfrm>
        </p:spPr>
        <p:txBody>
          <a:bodyPr>
            <a:noAutofit/>
          </a:bodyPr>
          <a:lstStyle/>
          <a:p>
            <a:pPr>
              <a:lnSpc>
                <a:spcPct val="80000"/>
              </a:lnSpc>
            </a:pPr>
            <a:br>
              <a:rPr lang="fr-BE" altLang="en-US" sz="1899" dirty="0"/>
            </a:br>
            <a:br>
              <a:rPr lang="fr-BE" altLang="en-US" sz="1899" dirty="0"/>
            </a:br>
            <a:br>
              <a:rPr lang="fr-BE" altLang="en-US" sz="2800" b="1" dirty="0"/>
            </a:br>
            <a:r>
              <a:rPr lang="fr-BE" altLang="en-US" sz="2800" b="1" dirty="0"/>
              <a:t>Charge véhicules électriques, où en est-on ? </a:t>
            </a:r>
            <a:br>
              <a:rPr lang="fr-BE" altLang="en-US" sz="2800" b="1" dirty="0"/>
            </a:br>
            <a:br>
              <a:rPr lang="fr-BE" altLang="en-US" sz="2800" b="1" dirty="0"/>
            </a:br>
            <a:r>
              <a:rPr lang="fr-BE" altLang="en-US" sz="2800" b="1" dirty="0"/>
              <a:t>Bart Van Dorpe /        </a:t>
            </a:r>
            <a:r>
              <a:rPr lang="fr-BE" altLang="en-US" sz="2800" b="1" dirty="0" err="1"/>
              <a:t>Technology</a:t>
            </a:r>
            <a:r>
              <a:rPr lang="fr-BE" altLang="en-US" sz="2800" b="1" dirty="0"/>
              <a:t> </a:t>
            </a:r>
            <a:r>
              <a:rPr lang="fr-BE" altLang="en-US" sz="2800" b="1" dirty="0" err="1"/>
              <a:t>Development</a:t>
            </a:r>
            <a:r>
              <a:rPr lang="fr-BE" altLang="en-US" sz="2800" b="1" dirty="0"/>
              <a:t> Manager</a:t>
            </a:r>
            <a:br>
              <a:rPr lang="fr-BE" altLang="en-US" sz="2800" b="1" dirty="0"/>
            </a:br>
            <a:endParaRPr lang="fr-BE" altLang="en-US" sz="2800" b="1" dirty="0"/>
          </a:p>
        </p:txBody>
      </p:sp>
      <p:sp>
        <p:nvSpPr>
          <p:cNvPr id="4" name="BainBulletsConfiguration" hidden="1"/>
          <p:cNvSpPr txBox="1"/>
          <p:nvPr/>
        </p:nvSpPr>
        <p:spPr>
          <a:xfrm>
            <a:off x="1189893" y="12058"/>
            <a:ext cx="8440615" cy="83639"/>
          </a:xfrm>
          <a:prstGeom prst="rect">
            <a:avLst/>
          </a:prstGeom>
          <a:noFill/>
        </p:spPr>
        <p:txBody>
          <a:bodyPr vert="horz" wrap="square" lIns="34180" tIns="34180" rIns="34180" bIns="34180" rtlCol="0">
            <a:spAutoFit/>
          </a:bodyPr>
          <a:lstStyle/>
          <a:p>
            <a:endParaRPr lang="en-GB" sz="100" dirty="0" err="1">
              <a:solidFill>
                <a:srgbClr val="FFFFFF"/>
              </a:solidFill>
            </a:endParaRPr>
          </a:p>
        </p:txBody>
      </p:sp>
      <p:pic>
        <p:nvPicPr>
          <p:cNvPr id="1028" name="Picture 4" descr="D'Ieteren logo">
            <a:hlinkClick r:id="rId2"/>
          </p:cNvPr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600097" y="545320"/>
            <a:ext cx="2843905" cy="23817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6847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Object 9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6" name="think-cell Slide" r:id="rId52" imgW="592" imgH="591" progId="TCLayout.ActiveDocument.1">
                  <p:embed/>
                </p:oleObj>
              </mc:Choice>
              <mc:Fallback>
                <p:oleObj name="think-cell Slide" r:id="rId52" imgW="592" imgH="591" progId="TCLayout.ActiveDocument.1">
                  <p:embed/>
                  <p:pic>
                    <p:nvPicPr>
                      <p:cNvPr id="100" name="Object 99" hidden="1"/>
                      <p:cNvPicPr/>
                      <p:nvPr/>
                    </p:nvPicPr>
                    <p:blipFill>
                      <a:blip r:embed="rId53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98" hidden="1"/>
          <p:cNvSpPr/>
          <p:nvPr>
            <p:custDataLst>
              <p:tags r:id="rId3"/>
            </p:custDataLst>
          </p:nvPr>
        </p:nvSpPr>
        <p:spPr bwMode="auto">
          <a:xfrm>
            <a:off x="1177835" y="1"/>
            <a:ext cx="150725" cy="15072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 defTabSz="868223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1234" dirty="0">
              <a:solidFill>
                <a:prstClr val="black"/>
              </a:solidFill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BB90B9-8086-474E-8FD4-1C8C44358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/>
              <a:t>Belgian (PH)EV Market development ['000 units, 2017 – 2030]</a:t>
            </a:r>
            <a:endParaRPr lang="nl-BE" sz="1899" dirty="0"/>
          </a:p>
        </p:txBody>
      </p:sp>
      <p:graphicFrame>
        <p:nvGraphicFramePr>
          <p:cNvPr id="52" name="Object 51"/>
          <p:cNvGraphicFramePr>
            <a:graphicFrameLocks/>
          </p:cNvGraphicFramePr>
          <p:nvPr>
            <p:custDataLst>
              <p:tags r:id="rId4"/>
            </p:custDataLst>
            <p:extLst/>
          </p:nvPr>
        </p:nvGraphicFramePr>
        <p:xfrm>
          <a:off x="1937490" y="1772530"/>
          <a:ext cx="7488242" cy="22065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7" name="Chart" r:id="rId54" imgW="7886922" imgH="2324034" progId="MSGraph.Chart.8">
                  <p:embed followColorScheme="full"/>
                </p:oleObj>
              </mc:Choice>
              <mc:Fallback>
                <p:oleObj name="Chart" r:id="rId54" imgW="7886922" imgH="2324034" progId="MSGraph.Chart.8">
                  <p:embed followColorScheme="full"/>
                  <p:pic>
                    <p:nvPicPr>
                      <p:cNvPr id="52" name="Object 51"/>
                      <p:cNvPicPr/>
                      <p:nvPr/>
                    </p:nvPicPr>
                    <p:blipFill>
                      <a:blip r:embed="rId55"/>
                      <a:stretch>
                        <a:fillRect/>
                      </a:stretch>
                    </p:blipFill>
                    <p:spPr>
                      <a:xfrm>
                        <a:off x="1937490" y="1772530"/>
                        <a:ext cx="7488242" cy="22065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69" name="Straight Connector 368"/>
          <p:cNvCxnSpPr/>
          <p:nvPr>
            <p:custDataLst>
              <p:tags r:id="rId5"/>
            </p:custDataLst>
          </p:nvPr>
        </p:nvCxnSpPr>
        <p:spPr bwMode="gray">
          <a:xfrm flipV="1">
            <a:off x="6459249" y="1511776"/>
            <a:ext cx="2545750" cy="732525"/>
          </a:xfrm>
          <a:prstGeom prst="line">
            <a:avLst/>
          </a:prstGeom>
          <a:ln w="9525">
            <a:solidFill>
              <a:schemeClr val="tx2"/>
            </a:solidFill>
            <a:headEnd type="none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1" name="Text Placeholder 10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2772508" y="3632480"/>
            <a:ext cx="247189" cy="168812"/>
          </a:xfrm>
          <a:prstGeom prst="rect">
            <a:avLst/>
          </a:prstGeom>
          <a:solidFill>
            <a:srgbClr val="9EC9F3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3A486502-C43D-4F97-AC21-629D63FA1280}" type="datetime'2''''''''''''''''''''''''''''8'''''''''''''''''''''''''''''">
              <a:rPr lang="en-GB" altLang="en-US" sz="1234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28</a:t>
            </a:fld>
            <a:endParaRPr lang="en-GB" altLang="zh-CN" sz="1234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93" name="Text Placeholder 10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5274548" y="2945172"/>
            <a:ext cx="334610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BDC0129E-8F01-43E7-A103-968D57B7247A}" type="datetime'''''''''''1''''''''''''5''0''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50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91" name="Text Placeholder 10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308398" y="3170186"/>
            <a:ext cx="223073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FD41D9F9-83FA-4504-944C-7385B7D57669}" type="datetime'''''''''''''''77''''''''''''''''''''''''''''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77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109" name="Text Placeholder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736460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3F2ED9F6-0D8A-42CC-B699-66EFBAD645F8}" type="datetime'''''''''F2''''''''''''0''22''''''''''''''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2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11" name="Text Placeholder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247418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8A3F4434-BA57-4BE1-AE21-903AACFFB615}" type="datetime'''''F''''''''''2''''0''''''2''''''''''''3''''''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3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90" name="Text Placeholder 10"/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801962" y="3361174"/>
            <a:ext cx="223073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7F4CBE89-EC58-49B3-9FDC-0DFC1D47A997}" type="datetime'''''''''''5''''''''''''''''''''''6''''''''''''''''''''''''''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56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108" name="Text Placeholder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4225500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BE80132F-FE0D-4EAA-A6DF-280279998902}" type="datetime'''F''''2''''''''''''''''''0''''''''2''''''''''''''''''''1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1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06" name="Text Placeholder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212627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D58615BB-785B-4B6B-A84B-7F3A438175FF}" type="datetime'''''''''''''F2''0''''''''''''''''''''''''1''''''''9''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19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63" name="Text Placeholder"/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3295526" y="3424479"/>
            <a:ext cx="223073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71D29388-88F9-4A97-A3E2-FBEF5DBF079D}" type="datetime'''4''1'''''''''''''''">
              <a:rPr lang="en-US" altLang="en-US" sz="1234" b="1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41</a:t>
            </a:fld>
            <a:endParaRPr lang="en-US" sz="1234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07" name="Text Placeholder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3719063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B8176DFF-D11F-43E3-8CC3-271B70912C06}" type="datetime'''F''''''''2''''''''''''''''''''02''''''''''''0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0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68" name="Text Placeholder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701668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3120A4F7-56EE-432E-93F5-C7FA9D80B0CA}" type="datetime'F''''''''''''''''''2''0''1''''''''''8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18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59" name="Text Placeholder 10"/>
          <p:cNvSpPr>
            <a:spLocks noGrp="1"/>
          </p:cNvSpPr>
          <p:nvPr>
            <p:custDataLst>
              <p:tags r:id="rId17"/>
            </p:custDataLst>
          </p:nvPr>
        </p:nvSpPr>
        <p:spPr bwMode="gray">
          <a:xfrm>
            <a:off x="5774956" y="3071782"/>
            <a:ext cx="346668" cy="168812"/>
          </a:xfrm>
          <a:prstGeom prst="rect">
            <a:avLst/>
          </a:prstGeom>
          <a:solidFill>
            <a:srgbClr val="9EC9F3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04CA2009-2B00-4506-AF4E-FE3F3473D99D}" type="datetime'''''''''1''''''''''''1''''''''''''''''''''''''''''''''''''''0'">
              <a:rPr lang="en-GB" altLang="en-US" sz="1234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10</a:t>
            </a:fld>
            <a:endParaRPr lang="en-GB" altLang="zh-CN" sz="1234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92" name="Text Placeholder 10"/>
          <p:cNvSpPr>
            <a:spLocks noGrp="1"/>
          </p:cNvSpPr>
          <p:nvPr>
            <p:custDataLst>
              <p:tags r:id="rId18"/>
            </p:custDataLst>
          </p:nvPr>
        </p:nvSpPr>
        <p:spPr bwMode="gray">
          <a:xfrm>
            <a:off x="4763590" y="3107956"/>
            <a:ext cx="334610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7A621255-B499-40B4-8271-8FF24FE0BE0D}" type="datetime'''''''''''''''''''''1''''''''''''''''''''''''''''''''1''2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12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67" name="Text Placeholder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225376" y="3917351"/>
            <a:ext cx="319538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CE8A72AD-853C-42DB-862F-948D4D4F651F}" type="datetime'''''''''''''2''''''''0''''''''''''''''''''''''''''''1''''7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2017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39" name="Text Placeholder 10"/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2261550" y="3650567"/>
            <a:ext cx="247189" cy="168812"/>
          </a:xfrm>
          <a:prstGeom prst="rect">
            <a:avLst/>
          </a:prstGeom>
          <a:solidFill>
            <a:srgbClr val="9EC9F3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8ADE8F0C-913E-4E33-8181-6600B6669B52}" type="datetime'''''''''''''''''''''''''''2''3'''''">
              <a:rPr lang="en-GB" altLang="en-US" sz="1234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23</a:t>
            </a:fld>
            <a:endParaRPr lang="en-GB" altLang="zh-CN" sz="1234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65" name="Text Placeholder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2273608" y="3481754"/>
            <a:ext cx="223073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9B35A5C4-0C51-43CD-B2FA-4E5783E783E2}" type="datetime'''''''''2''''''''''6'''''''''''''''''''''''''''''''''''">
              <a:rPr lang="en-US" altLang="en-US" sz="1234" b="1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26</a:t>
            </a:fld>
            <a:endParaRPr lang="en-US" sz="1234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34" name="Text Placeholder 10"/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7303310" y="3279783"/>
            <a:ext cx="346668" cy="168812"/>
          </a:xfrm>
          <a:prstGeom prst="rect">
            <a:avLst/>
          </a:prstGeom>
          <a:solidFill>
            <a:srgbClr val="3F8CE2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63CF3348-F3EC-4A9B-B5AC-76F0C97CF64E}" type="datetime'''''''''''''''''''''''1''''''''''''''''''''''''''''''97'">
              <a:rPr lang="en-GB" altLang="en-US" sz="1234">
                <a:solidFill>
                  <a:srgbClr val="DDDDDD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97</a:t>
            </a:fld>
            <a:endParaRPr lang="en-GB" altLang="zh-CN" sz="1234" dirty="0">
              <a:solidFill>
                <a:srgbClr val="DDDDDD"/>
              </a:solidFill>
              <a:latin typeface="Verdana"/>
              <a:sym typeface="+mn-lt"/>
            </a:endParaRPr>
          </a:p>
        </p:txBody>
      </p:sp>
      <p:sp>
        <p:nvSpPr>
          <p:cNvPr id="128" name="Text Placeholder 10"/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296341" y="3677697"/>
            <a:ext cx="247189" cy="168812"/>
          </a:xfrm>
          <a:prstGeom prst="rect">
            <a:avLst/>
          </a:prstGeom>
          <a:solidFill>
            <a:srgbClr val="3F8CE2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1ACBAFDB-0155-44F0-9086-EF395F4B3EEB}" type="datetime'''''''''''''1''''''''''7'''''''''''">
              <a:rPr lang="en-GB" altLang="en-US" sz="1234">
                <a:solidFill>
                  <a:srgbClr val="DDDDDD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7</a:t>
            </a:fld>
            <a:endParaRPr lang="en-GB" altLang="zh-CN" sz="1234" dirty="0">
              <a:solidFill>
                <a:srgbClr val="DDDDDD"/>
              </a:solidFill>
              <a:latin typeface="Verdana"/>
              <a:sym typeface="+mn-lt"/>
            </a:endParaRPr>
          </a:p>
        </p:txBody>
      </p:sp>
      <p:sp>
        <p:nvSpPr>
          <p:cNvPr id="133" name="Text Placeholder 10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6796874" y="3347609"/>
            <a:ext cx="346668" cy="168812"/>
          </a:xfrm>
          <a:prstGeom prst="rect">
            <a:avLst/>
          </a:prstGeom>
          <a:solidFill>
            <a:srgbClr val="3F8CE2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C4FA4748-8A31-4282-86D3-E57212BC4A15}" type="datetime'''''''''1''''''''''6''''''''''''''''''''''''''''''''''''''''5'">
              <a:rPr lang="en-GB" altLang="en-US" sz="1234">
                <a:solidFill>
                  <a:srgbClr val="DDDDDD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65</a:t>
            </a:fld>
            <a:endParaRPr lang="en-GB" altLang="zh-CN" sz="1234" dirty="0">
              <a:solidFill>
                <a:srgbClr val="DDDDDD"/>
              </a:solidFill>
              <a:latin typeface="Verdana"/>
              <a:sym typeface="+mn-lt"/>
            </a:endParaRPr>
          </a:p>
        </p:txBody>
      </p:sp>
      <p:sp>
        <p:nvSpPr>
          <p:cNvPr id="135" name="Text Placeholder 10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7809747" y="3225522"/>
            <a:ext cx="346668" cy="168812"/>
          </a:xfrm>
          <a:prstGeom prst="rect">
            <a:avLst/>
          </a:prstGeom>
          <a:solidFill>
            <a:srgbClr val="3F8CE2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0BA5F6A0-9779-4EF1-82FD-B160E08CE35B}" type="datetime'''''''''''''''2''''''''''''''''''''2''''''''''''''''1'''''">
              <a:rPr lang="en-GB" altLang="en-US" sz="1234">
                <a:solidFill>
                  <a:srgbClr val="DDDDDD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221</a:t>
            </a:fld>
            <a:endParaRPr lang="en-GB" altLang="zh-CN" sz="1234" dirty="0">
              <a:solidFill>
                <a:srgbClr val="DDDDDD"/>
              </a:solidFill>
              <a:latin typeface="Verdana"/>
              <a:sym typeface="+mn-lt"/>
            </a:endParaRPr>
          </a:p>
        </p:txBody>
      </p:sp>
      <p:sp>
        <p:nvSpPr>
          <p:cNvPr id="126" name="Text Placeholder 10"/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8831665" y="3162217"/>
            <a:ext cx="346668" cy="168812"/>
          </a:xfrm>
          <a:prstGeom prst="rect">
            <a:avLst/>
          </a:prstGeom>
          <a:solidFill>
            <a:srgbClr val="3F8CE2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4B24CFD0-E599-42AB-B878-043FA7148E2E}" type="datetime'''2''''''''''''''''''''''''''''4''''9'''''''''">
              <a:rPr lang="en-GB" altLang="en-US" sz="1234">
                <a:solidFill>
                  <a:srgbClr val="DDDDDD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249</a:t>
            </a:fld>
            <a:endParaRPr lang="en-GB" altLang="zh-CN" sz="1234" dirty="0">
              <a:solidFill>
                <a:srgbClr val="DDDDDD"/>
              </a:solidFill>
              <a:latin typeface="Verdana"/>
              <a:sym typeface="+mn-lt"/>
            </a:endParaRPr>
          </a:p>
        </p:txBody>
      </p:sp>
      <p:sp>
        <p:nvSpPr>
          <p:cNvPr id="118" name="Text Placeholder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8810563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9EAA0B8D-C934-4F55-BF4A-F626CE111282}" type="datetime'F''''''''2''''''''''''''''''''03''''''''''''''''''''''0''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30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99" name="Text Placeholder 10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837694" y="1769515"/>
            <a:ext cx="334610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3E483FA3-6E9E-45AB-AB07-87BB76AD8A7E}" type="datetime'''4''1''''''''''''''''''5''''''''''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415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98" name="Text Placeholder 10"/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8326736" y="1832820"/>
            <a:ext cx="334610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7F86A762-9E43-4301-8877-120B8E355D31}" type="datetime'''''4''''''0''''''''''''''0''''''''''''''''''''''''''''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400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363" name="Text Placeholder 10"/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8831665" y="2244300"/>
            <a:ext cx="346668" cy="168812"/>
          </a:xfrm>
          <a:prstGeom prst="rect">
            <a:avLst/>
          </a:prstGeom>
          <a:solidFill>
            <a:srgbClr val="9EC9F3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B39567F4-9CBC-44F8-99E1-91A0D0331952}" type="datetime'16''''''''''''''''''''''''''''''6'''''''''''''">
              <a:rPr lang="en-GB" altLang="en-US" sz="1234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66</a:t>
            </a:fld>
            <a:endParaRPr lang="en-GB" altLang="zh-CN" sz="1234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117" name="Text Placeholder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299605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76442E0F-DE98-41C6-8AD0-213E7ACB43BD}" type="datetime'''''''F''''''''''''''''''''''''20''''''29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9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62" name="Text Placeholder 10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7809747" y="2398040"/>
            <a:ext cx="346668" cy="168812"/>
          </a:xfrm>
          <a:prstGeom prst="rect">
            <a:avLst/>
          </a:prstGeom>
          <a:solidFill>
            <a:srgbClr val="9EC9F3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1676F670-9565-413C-B1C5-31686F3B0379}" type="datetime'''''''''''1''''''''''''''''''''''''''5''''''4'''''''''">
              <a:rPr lang="en-GB" altLang="en-US" sz="1234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54</a:t>
            </a:fld>
            <a:endParaRPr lang="en-GB" altLang="zh-CN" sz="1234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295" name="Text Placeholder 10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6802903" y="2275952"/>
            <a:ext cx="334610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E28745D3-31B9-42A2-AB20-F9B383A31EE8}" type="datetime'''''''''''3''''''''''''''''''''''''0''''''''0''''''''''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300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66" name="Text Placeholder 10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5780985" y="2719085"/>
            <a:ext cx="334610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1814DF96-5452-42B6-A20F-B0503B050407}" type="datetime'''''''''''''''''''''''2''''''''''''''''''''''''00'''''">
              <a:rPr lang="en-GB" altLang="en-US" sz="1234" b="1">
                <a:solidFill>
                  <a:prstClr val="black"/>
                </a:solidFill>
                <a:latin typeface="Verdana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200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61" name="Text Placeholder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2784566" y="3460653"/>
            <a:ext cx="223073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FC890FF3-781C-41CF-BF15-8482CB7D9C39}" type="datetime'''''''''''''''''''''''''''''3''''''''''''2'''''''''">
              <a:rPr lang="en-US" altLang="en-US" sz="1234" b="1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32</a:t>
            </a:fld>
            <a:endParaRPr lang="en-US" sz="1234" b="1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97" name="Text Placeholder 10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7815776" y="1950386"/>
            <a:ext cx="334610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D4D78FC7-8436-4C27-B651-4B0C499F990F}" type="datetime'''''''''''''''''''''''''''''''''''''''''''''''''''37''5''''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375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113" name="Text Placeholder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264814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13FC75C5-7592-424C-9C92-45383DCEA5F3}" type="datetime'''''''''F''''2025''''''''''''''''''''''''''''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5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94" name="Text Placeholder 10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291944" y="2502040"/>
            <a:ext cx="334610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532F2DB0-5B7A-41BC-8CEE-4F7B6375703F}" type="datetime'''''''''''''''2''''5''''''''''''''''''''''0''''''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250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116" name="Text Placeholder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7788646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FC483A10-A745-4AC5-BB9B-BD2BA178CFEE}" type="datetime'''''''''''''F''''''''''''''''2''''02''8''''''''''''''''''''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8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61" name="Text Placeholder 10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303310" y="2529171"/>
            <a:ext cx="346668" cy="168812"/>
          </a:xfrm>
          <a:prstGeom prst="rect">
            <a:avLst/>
          </a:prstGeom>
          <a:solidFill>
            <a:srgbClr val="9EC9F3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7D5E5D76-EF92-4A79-AFE3-E40789C14199}" type="datetime'''''''''''''''1''''''4''''''''''''''3'''''''">
              <a:rPr lang="en-GB" altLang="en-US" sz="1234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43</a:t>
            </a:fld>
            <a:endParaRPr lang="en-GB" altLang="zh-CN" sz="1234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360" name="Text Placeholder 10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6796874" y="2682911"/>
            <a:ext cx="346668" cy="168812"/>
          </a:xfrm>
          <a:prstGeom prst="rect">
            <a:avLst/>
          </a:prstGeom>
          <a:solidFill>
            <a:srgbClr val="9EC9F3"/>
          </a:solidFill>
        </p:spPr>
        <p:txBody>
          <a:bodyPr vert="horz" wrap="none" lIns="24116" tIns="0" rIns="24116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6F8AC562-AEF1-4F55-BD72-3CF57A07298E}" type="datetime'''1''''''''''''''''''''''''''''''''''3''''5'''''''''">
              <a:rPr lang="en-GB" altLang="en-US" sz="1234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135</a:t>
            </a:fld>
            <a:endParaRPr lang="en-GB" altLang="zh-CN" sz="1234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112" name="Text Placeholder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5753855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7F031C2A-2A23-4071-BA85-9F7C3F00295D}" type="datetime'''''''''''''''''''''''''''''''''''''''F''2''''''''''''''024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4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15" name="Text Placeholder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7282209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19F902EE-8066-4027-AB82-629ED4466FA3}" type="datetime'''''''F''''2''''''''''''''0''''''''''2''''''7''''''''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7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114" name="Text Placeholder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775772" y="3917351"/>
            <a:ext cx="388871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lIns="0" tIns="0" rIns="0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 Narrow" pitchFamily="34" charset="0"/>
              <a:buNone/>
              <a:defRPr lang="en-US" sz="2100" b="0" i="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230400" indent="-230400" algn="l" defTabSz="914400" rtl="0" eaLnBrk="1" latinLnBrk="0" hangingPunct="1">
              <a:lnSpc>
                <a:spcPct val="90000"/>
              </a:lnSpc>
              <a:spcBef>
                <a:spcPts val="1200"/>
              </a:spcBef>
              <a:buFont typeface="Arial Narrow" pitchFamily="34" charset="0"/>
              <a:buChar char="&gt;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82400" indent="-234000" algn="l" defTabSz="914400" rtl="0" eaLnBrk="1" latinLnBrk="0" hangingPunct="1">
              <a:lnSpc>
                <a:spcPct val="90000"/>
              </a:lnSpc>
              <a:spcBef>
                <a:spcPts val="400"/>
              </a:spcBef>
              <a:buFont typeface="Arial Narrow" pitchFamily="34" charset="0"/>
              <a:buChar char="–"/>
              <a:defRPr lang="en-US" sz="21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98400" indent="-201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buFont typeface="Arial Narrow" pitchFamily="34" charset="0"/>
              <a:buChar char="-"/>
              <a:defRPr lang="en-US" sz="2100" b="0" kern="120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698400" indent="0" algn="l" defTabSz="914400" rtl="0" eaLnBrk="1" latinLnBrk="0" hangingPunct="1">
              <a:lnSpc>
                <a:spcPct val="93000"/>
              </a:lnSpc>
              <a:spcBef>
                <a:spcPts val="0"/>
              </a:spcBef>
              <a:buFont typeface="Arial Narrow" pitchFamily="34" charset="0"/>
              <a:buNone/>
              <a:defRPr sz="1700" kern="1200">
                <a:solidFill>
                  <a:schemeClr val="tx1"/>
                </a:solidFill>
                <a:latin typeface="Arial Narrow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 Narrow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868223">
              <a:spcBef>
                <a:spcPct val="0"/>
              </a:spcBef>
            </a:pPr>
            <a:fld id="{9C796D52-21E3-4C86-A253-1B4265462396}" type="datetime'''''''''''''''''''''''''F''''''''''2''''''''02''6'''''''''''">
              <a:rPr lang="en-US" altLang="en-US" sz="949">
                <a:solidFill>
                  <a:prstClr val="black"/>
                </a:solidFill>
                <a:latin typeface="Verdana"/>
              </a:rPr>
              <a:pPr algn="ctr" defTabSz="868223">
                <a:spcBef>
                  <a:spcPct val="0"/>
                </a:spcBef>
              </a:pPr>
              <a:t>F2026</a:t>
            </a:fld>
            <a:endParaRPr lang="en-US" sz="94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296" name="Text Placeholder 10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7309339" y="2104125"/>
            <a:ext cx="334610" cy="168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b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0C8C3FF7-AA2B-4BAE-B782-A3AC9FF21868}" type="datetime'''''''''''''''''''''''''''''''''''''''''''''''''340'''''''''''">
              <a:rPr lang="en-GB" altLang="en-US" sz="1234" b="1">
                <a:solidFill>
                  <a:prstClr val="black"/>
                </a:solidFill>
                <a:latin typeface="Verdana"/>
                <a:sym typeface="+mn-lt"/>
              </a:rPr>
              <a:pPr marL="0" indent="0" algn="ctr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340</a:t>
            </a:fld>
            <a:endParaRPr lang="en-GB" altLang="zh-CN" sz="1234" b="1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73" name="Rectangle 72"/>
          <p:cNvSpPr/>
          <p:nvPr/>
        </p:nvSpPr>
        <p:spPr>
          <a:xfrm>
            <a:off x="1358705" y="4390035"/>
            <a:ext cx="738596" cy="230498"/>
          </a:xfrm>
          <a:prstGeom prst="rect">
            <a:avLst/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0">
            <a:noAutofit/>
          </a:bodyPr>
          <a:lstStyle/>
          <a:p>
            <a:pPr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Total BE </a:t>
            </a:r>
            <a:br>
              <a:rPr lang="en-US" sz="1044" b="1" dirty="0">
                <a:solidFill>
                  <a:prstClr val="black"/>
                </a:solidFill>
                <a:latin typeface="Verdana"/>
              </a:rPr>
            </a:br>
            <a:r>
              <a:rPr lang="en-US" sz="1044" b="1" dirty="0">
                <a:solidFill>
                  <a:prstClr val="black"/>
                </a:solidFill>
                <a:latin typeface="Verdana"/>
              </a:rPr>
              <a:t>car sales</a:t>
            </a:r>
          </a:p>
        </p:txBody>
      </p:sp>
      <p:sp>
        <p:nvSpPr>
          <p:cNvPr id="74" name="Rectangle 73"/>
          <p:cNvSpPr/>
          <p:nvPr/>
        </p:nvSpPr>
        <p:spPr>
          <a:xfrm>
            <a:off x="1358706" y="4773873"/>
            <a:ext cx="707104" cy="243704"/>
          </a:xfrm>
          <a:prstGeom prst="rect">
            <a:avLst/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0">
            <a:noAutofit/>
          </a:bodyPr>
          <a:lstStyle/>
          <a:p>
            <a:pPr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PHEV (%)</a:t>
            </a:r>
          </a:p>
        </p:txBody>
      </p:sp>
      <p:sp>
        <p:nvSpPr>
          <p:cNvPr id="84" name="Rectangle: Rounded Corners 83"/>
          <p:cNvSpPr/>
          <p:nvPr/>
        </p:nvSpPr>
        <p:spPr>
          <a:xfrm>
            <a:off x="2158690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45</a:t>
            </a:r>
          </a:p>
        </p:txBody>
      </p:sp>
      <p:sp>
        <p:nvSpPr>
          <p:cNvPr id="89" name="Rectangle: Rounded Corners 88"/>
          <p:cNvSpPr/>
          <p:nvPr/>
        </p:nvSpPr>
        <p:spPr>
          <a:xfrm>
            <a:off x="2112578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4,3%</a:t>
            </a:r>
          </a:p>
        </p:txBody>
      </p:sp>
      <p:sp>
        <p:nvSpPr>
          <p:cNvPr id="305" name="TextBox 304"/>
          <p:cNvSpPr txBox="1"/>
          <p:nvPr/>
        </p:nvSpPr>
        <p:spPr>
          <a:xfrm>
            <a:off x="9428206" y="1748990"/>
            <a:ext cx="532197" cy="28918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868223">
              <a:lnSpc>
                <a:spcPct val="90000"/>
              </a:lnSpc>
              <a:spcBef>
                <a:spcPts val="380"/>
              </a:spcBef>
              <a:buClr>
                <a:srgbClr val="000000"/>
              </a:buClr>
              <a:buSzPct val="100000"/>
            </a:pPr>
            <a:r>
              <a:rPr lang="en-US" sz="1044" b="1" dirty="0">
                <a:solidFill>
                  <a:prstClr val="black"/>
                </a:solidFill>
                <a:latin typeface="Verdana"/>
                <a:cs typeface="Arial Narrow" pitchFamily="34" charset="0"/>
              </a:rPr>
              <a:t>CAGR</a:t>
            </a:r>
            <a:br>
              <a:rPr lang="en-US" sz="1044" b="1" dirty="0">
                <a:solidFill>
                  <a:prstClr val="black"/>
                </a:solidFill>
                <a:latin typeface="Verdana"/>
                <a:cs typeface="Arial Narrow" pitchFamily="34" charset="0"/>
              </a:rPr>
            </a:br>
            <a:r>
              <a:rPr lang="en-US" sz="1044" b="1" dirty="0">
                <a:solidFill>
                  <a:prstClr val="black"/>
                </a:solidFill>
                <a:latin typeface="Verdana"/>
                <a:cs typeface="Arial Narrow" pitchFamily="34" charset="0"/>
              </a:rPr>
              <a:t>'17-'25</a:t>
            </a:r>
          </a:p>
        </p:txBody>
      </p:sp>
      <p:sp>
        <p:nvSpPr>
          <p:cNvPr id="306" name="Rounded Rectangle 47"/>
          <p:cNvSpPr>
            <a:spLocks/>
          </p:cNvSpPr>
          <p:nvPr/>
        </p:nvSpPr>
        <p:spPr>
          <a:xfrm>
            <a:off x="9436977" y="2266744"/>
            <a:ext cx="538713" cy="265471"/>
          </a:xfrm>
          <a:prstGeom prst="roundRect">
            <a:avLst>
              <a:gd name="adj" fmla="val 50000"/>
            </a:avLst>
          </a:prstGeom>
          <a:solidFill>
            <a:srgbClr val="9EC9F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68223">
              <a:lnSpc>
                <a:spcPct val="93000"/>
              </a:lnSpc>
            </a:pPr>
            <a:r>
              <a:rPr lang="en-US" sz="1044" dirty="0">
                <a:solidFill>
                  <a:prstClr val="black"/>
                </a:solidFill>
                <a:latin typeface="Verdana"/>
                <a:cs typeface="Arial" pitchFamily="34" charset="0"/>
              </a:rPr>
              <a:t>23%</a:t>
            </a:r>
          </a:p>
        </p:txBody>
      </p:sp>
      <p:sp>
        <p:nvSpPr>
          <p:cNvPr id="307" name="Rounded Rectangle 48"/>
          <p:cNvSpPr>
            <a:spLocks/>
          </p:cNvSpPr>
          <p:nvPr/>
        </p:nvSpPr>
        <p:spPr>
          <a:xfrm>
            <a:off x="9436977" y="3095161"/>
            <a:ext cx="538713" cy="265471"/>
          </a:xfrm>
          <a:prstGeom prst="roundRect">
            <a:avLst>
              <a:gd name="adj" fmla="val 50000"/>
            </a:avLst>
          </a:prstGeom>
          <a:solidFill>
            <a:srgbClr val="3F8CE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68223">
              <a:lnSpc>
                <a:spcPct val="93000"/>
              </a:lnSpc>
            </a:pPr>
            <a:r>
              <a:rPr lang="en-US" sz="1044" dirty="0">
                <a:solidFill>
                  <a:srgbClr val="FFFFFF"/>
                </a:solidFill>
                <a:latin typeface="Verdana"/>
                <a:cs typeface="Arial" pitchFamily="34" charset="0"/>
              </a:rPr>
              <a:t>63%</a:t>
            </a:r>
          </a:p>
        </p:txBody>
      </p:sp>
      <p:sp>
        <p:nvSpPr>
          <p:cNvPr id="309" name="TextBox 308"/>
          <p:cNvSpPr txBox="1"/>
          <p:nvPr/>
        </p:nvSpPr>
        <p:spPr>
          <a:xfrm>
            <a:off x="10107554" y="1744771"/>
            <a:ext cx="532197" cy="289182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>
            <a:spAutoFit/>
          </a:bodyPr>
          <a:lstStyle/>
          <a:p>
            <a:pPr defTabSz="868223">
              <a:lnSpc>
                <a:spcPct val="90000"/>
              </a:lnSpc>
              <a:spcBef>
                <a:spcPts val="380"/>
              </a:spcBef>
              <a:buClr>
                <a:srgbClr val="000000"/>
              </a:buClr>
              <a:buSzPct val="100000"/>
            </a:pPr>
            <a:r>
              <a:rPr lang="en-US" sz="1044" b="1" dirty="0">
                <a:solidFill>
                  <a:prstClr val="black"/>
                </a:solidFill>
                <a:latin typeface="Verdana"/>
                <a:cs typeface="Arial Narrow" pitchFamily="34" charset="0"/>
              </a:rPr>
              <a:t>CAGR</a:t>
            </a:r>
            <a:br>
              <a:rPr lang="en-US" sz="1044" b="1" dirty="0">
                <a:solidFill>
                  <a:prstClr val="black"/>
                </a:solidFill>
                <a:latin typeface="Verdana"/>
                <a:cs typeface="Arial Narrow" pitchFamily="34" charset="0"/>
              </a:rPr>
            </a:br>
            <a:r>
              <a:rPr lang="en-US" sz="1044" b="1" dirty="0">
                <a:solidFill>
                  <a:prstClr val="black"/>
                </a:solidFill>
                <a:latin typeface="Verdana"/>
                <a:cs typeface="Arial Narrow" pitchFamily="34" charset="0"/>
              </a:rPr>
              <a:t>'25-'30</a:t>
            </a:r>
          </a:p>
        </p:txBody>
      </p:sp>
      <p:sp>
        <p:nvSpPr>
          <p:cNvPr id="310" name="Rounded Rectangle 88"/>
          <p:cNvSpPr>
            <a:spLocks/>
          </p:cNvSpPr>
          <p:nvPr/>
        </p:nvSpPr>
        <p:spPr>
          <a:xfrm>
            <a:off x="10116325" y="2266744"/>
            <a:ext cx="538713" cy="265471"/>
          </a:xfrm>
          <a:prstGeom prst="roundRect">
            <a:avLst>
              <a:gd name="adj" fmla="val 50000"/>
            </a:avLst>
          </a:prstGeom>
          <a:solidFill>
            <a:srgbClr val="9EC9F3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68223">
              <a:lnSpc>
                <a:spcPct val="93000"/>
              </a:lnSpc>
            </a:pPr>
            <a:r>
              <a:rPr lang="en-US" sz="1044" dirty="0">
                <a:solidFill>
                  <a:prstClr val="black"/>
                </a:solidFill>
                <a:latin typeface="Verdana"/>
                <a:cs typeface="Arial" pitchFamily="34" charset="0"/>
              </a:rPr>
              <a:t>6%</a:t>
            </a:r>
          </a:p>
        </p:txBody>
      </p:sp>
      <p:sp>
        <p:nvSpPr>
          <p:cNvPr id="311" name="Rounded Rectangle 89"/>
          <p:cNvSpPr>
            <a:spLocks/>
          </p:cNvSpPr>
          <p:nvPr/>
        </p:nvSpPr>
        <p:spPr>
          <a:xfrm>
            <a:off x="10116325" y="3087160"/>
            <a:ext cx="538713" cy="265471"/>
          </a:xfrm>
          <a:prstGeom prst="roundRect">
            <a:avLst>
              <a:gd name="adj" fmla="val 50000"/>
            </a:avLst>
          </a:prstGeom>
          <a:solidFill>
            <a:srgbClr val="3F8CE2"/>
          </a:solidFill>
          <a:ln w="9525" cmpd="sng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68223">
              <a:lnSpc>
                <a:spcPct val="93000"/>
              </a:lnSpc>
            </a:pPr>
            <a:r>
              <a:rPr lang="en-US" sz="1044" dirty="0">
                <a:solidFill>
                  <a:srgbClr val="FFFFFF"/>
                </a:solidFill>
                <a:latin typeface="Verdana"/>
                <a:cs typeface="Arial" pitchFamily="34" charset="0"/>
              </a:rPr>
              <a:t>15%</a:t>
            </a:r>
          </a:p>
        </p:txBody>
      </p:sp>
      <p:sp>
        <p:nvSpPr>
          <p:cNvPr id="315" name="Rectangle: Rounded Corners 314"/>
          <p:cNvSpPr/>
          <p:nvPr/>
        </p:nvSpPr>
        <p:spPr>
          <a:xfrm>
            <a:off x="4197684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10</a:t>
            </a:r>
          </a:p>
        </p:txBody>
      </p:sp>
      <p:sp>
        <p:nvSpPr>
          <p:cNvPr id="316" name="Rectangle: Rounded Corners 315"/>
          <p:cNvSpPr/>
          <p:nvPr/>
        </p:nvSpPr>
        <p:spPr>
          <a:xfrm>
            <a:off x="4151572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11.7%</a:t>
            </a:r>
          </a:p>
        </p:txBody>
      </p:sp>
      <p:sp>
        <p:nvSpPr>
          <p:cNvPr id="318" name="Rectangle: Rounded Corners 317"/>
          <p:cNvSpPr/>
          <p:nvPr/>
        </p:nvSpPr>
        <p:spPr>
          <a:xfrm>
            <a:off x="2668438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30</a:t>
            </a:r>
          </a:p>
        </p:txBody>
      </p:sp>
      <p:sp>
        <p:nvSpPr>
          <p:cNvPr id="319" name="Rectangle: Rounded Corners 318"/>
          <p:cNvSpPr/>
          <p:nvPr/>
        </p:nvSpPr>
        <p:spPr>
          <a:xfrm>
            <a:off x="2622326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5.3%</a:t>
            </a:r>
          </a:p>
        </p:txBody>
      </p:sp>
      <p:sp>
        <p:nvSpPr>
          <p:cNvPr id="321" name="Rectangle: Rounded Corners 320"/>
          <p:cNvSpPr/>
          <p:nvPr/>
        </p:nvSpPr>
        <p:spPr>
          <a:xfrm>
            <a:off x="3178187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10</a:t>
            </a:r>
          </a:p>
        </p:txBody>
      </p:sp>
      <p:sp>
        <p:nvSpPr>
          <p:cNvPr id="322" name="Rectangle: Rounded Corners 321"/>
          <p:cNvSpPr/>
          <p:nvPr/>
        </p:nvSpPr>
        <p:spPr>
          <a:xfrm>
            <a:off x="3132075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6.6%</a:t>
            </a:r>
          </a:p>
        </p:txBody>
      </p:sp>
      <p:sp>
        <p:nvSpPr>
          <p:cNvPr id="324" name="Rectangle: Rounded Corners 323"/>
          <p:cNvSpPr/>
          <p:nvPr/>
        </p:nvSpPr>
        <p:spPr>
          <a:xfrm>
            <a:off x="3687936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10</a:t>
            </a:r>
          </a:p>
        </p:txBody>
      </p:sp>
      <p:sp>
        <p:nvSpPr>
          <p:cNvPr id="325" name="Rectangle: Rounded Corners 324"/>
          <p:cNvSpPr/>
          <p:nvPr/>
        </p:nvSpPr>
        <p:spPr>
          <a:xfrm>
            <a:off x="3641824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8.9%</a:t>
            </a:r>
          </a:p>
        </p:txBody>
      </p:sp>
      <p:sp>
        <p:nvSpPr>
          <p:cNvPr id="327" name="Rectangle: Rounded Corners 326"/>
          <p:cNvSpPr/>
          <p:nvPr/>
        </p:nvSpPr>
        <p:spPr>
          <a:xfrm>
            <a:off x="4707433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10</a:t>
            </a:r>
          </a:p>
        </p:txBody>
      </p:sp>
      <p:sp>
        <p:nvSpPr>
          <p:cNvPr id="328" name="Rectangle: Rounded Corners 327"/>
          <p:cNvSpPr/>
          <p:nvPr/>
        </p:nvSpPr>
        <p:spPr>
          <a:xfrm>
            <a:off x="4661321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15.8%</a:t>
            </a:r>
          </a:p>
        </p:txBody>
      </p:sp>
      <p:sp>
        <p:nvSpPr>
          <p:cNvPr id="330" name="Rectangle: Rounded Corners 329"/>
          <p:cNvSpPr/>
          <p:nvPr/>
        </p:nvSpPr>
        <p:spPr>
          <a:xfrm>
            <a:off x="5217181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00</a:t>
            </a:r>
          </a:p>
        </p:txBody>
      </p:sp>
      <p:sp>
        <p:nvSpPr>
          <p:cNvPr id="331" name="Rectangle: Rounded Corners 330"/>
          <p:cNvSpPr/>
          <p:nvPr/>
        </p:nvSpPr>
        <p:spPr>
          <a:xfrm>
            <a:off x="5171069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19.5%</a:t>
            </a:r>
          </a:p>
        </p:txBody>
      </p:sp>
      <p:sp>
        <p:nvSpPr>
          <p:cNvPr id="333" name="Rectangle: Rounded Corners 332"/>
          <p:cNvSpPr/>
          <p:nvPr/>
        </p:nvSpPr>
        <p:spPr>
          <a:xfrm>
            <a:off x="5726930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00</a:t>
            </a:r>
          </a:p>
        </p:txBody>
      </p:sp>
      <p:sp>
        <p:nvSpPr>
          <p:cNvPr id="334" name="Rectangle: Rounded Corners 333"/>
          <p:cNvSpPr/>
          <p:nvPr/>
        </p:nvSpPr>
        <p:spPr>
          <a:xfrm>
            <a:off x="5680818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22%</a:t>
            </a:r>
          </a:p>
        </p:txBody>
      </p:sp>
      <p:sp>
        <p:nvSpPr>
          <p:cNvPr id="336" name="Rectangle: Rounded Corners 335"/>
          <p:cNvSpPr/>
          <p:nvPr/>
        </p:nvSpPr>
        <p:spPr>
          <a:xfrm>
            <a:off x="6236679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00</a:t>
            </a:r>
          </a:p>
        </p:txBody>
      </p:sp>
      <p:sp>
        <p:nvSpPr>
          <p:cNvPr id="337" name="Rectangle: Rounded Corners 336"/>
          <p:cNvSpPr/>
          <p:nvPr/>
        </p:nvSpPr>
        <p:spPr>
          <a:xfrm>
            <a:off x="6190567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25%</a:t>
            </a:r>
          </a:p>
        </p:txBody>
      </p:sp>
      <p:sp>
        <p:nvSpPr>
          <p:cNvPr id="339" name="Rectangle: Rounded Corners 338"/>
          <p:cNvSpPr/>
          <p:nvPr/>
        </p:nvSpPr>
        <p:spPr>
          <a:xfrm>
            <a:off x="6746427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00</a:t>
            </a:r>
          </a:p>
        </p:txBody>
      </p:sp>
      <p:sp>
        <p:nvSpPr>
          <p:cNvPr id="340" name="Rectangle: Rounded Corners 339"/>
          <p:cNvSpPr/>
          <p:nvPr/>
        </p:nvSpPr>
        <p:spPr>
          <a:xfrm>
            <a:off x="6700315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27%</a:t>
            </a:r>
          </a:p>
        </p:txBody>
      </p:sp>
      <p:sp>
        <p:nvSpPr>
          <p:cNvPr id="342" name="Rectangle: Rounded Corners 341"/>
          <p:cNvSpPr/>
          <p:nvPr/>
        </p:nvSpPr>
        <p:spPr>
          <a:xfrm>
            <a:off x="7256176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00</a:t>
            </a:r>
          </a:p>
        </p:txBody>
      </p:sp>
      <p:sp>
        <p:nvSpPr>
          <p:cNvPr id="343" name="Rectangle: Rounded Corners 342"/>
          <p:cNvSpPr/>
          <p:nvPr/>
        </p:nvSpPr>
        <p:spPr>
          <a:xfrm>
            <a:off x="7210064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28.6%</a:t>
            </a:r>
          </a:p>
        </p:txBody>
      </p:sp>
      <p:sp>
        <p:nvSpPr>
          <p:cNvPr id="345" name="Rectangle: Rounded Corners 344"/>
          <p:cNvSpPr/>
          <p:nvPr/>
        </p:nvSpPr>
        <p:spPr>
          <a:xfrm>
            <a:off x="7765924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00</a:t>
            </a:r>
          </a:p>
        </p:txBody>
      </p:sp>
      <p:sp>
        <p:nvSpPr>
          <p:cNvPr id="346" name="Rectangle: Rounded Corners 345"/>
          <p:cNvSpPr/>
          <p:nvPr/>
        </p:nvSpPr>
        <p:spPr>
          <a:xfrm>
            <a:off x="7719812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30.8%</a:t>
            </a:r>
          </a:p>
        </p:txBody>
      </p:sp>
      <p:sp>
        <p:nvSpPr>
          <p:cNvPr id="348" name="Rectangle: Rounded Corners 347"/>
          <p:cNvSpPr/>
          <p:nvPr/>
        </p:nvSpPr>
        <p:spPr>
          <a:xfrm>
            <a:off x="8275673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00</a:t>
            </a:r>
          </a:p>
        </p:txBody>
      </p:sp>
      <p:sp>
        <p:nvSpPr>
          <p:cNvPr id="349" name="Rectangle: Rounded Corners 348"/>
          <p:cNvSpPr/>
          <p:nvPr/>
        </p:nvSpPr>
        <p:spPr>
          <a:xfrm>
            <a:off x="8229561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32%</a:t>
            </a:r>
          </a:p>
        </p:txBody>
      </p:sp>
      <p:sp>
        <p:nvSpPr>
          <p:cNvPr id="351" name="Rectangle: Rounded Corners 350"/>
          <p:cNvSpPr/>
          <p:nvPr/>
        </p:nvSpPr>
        <p:spPr>
          <a:xfrm>
            <a:off x="8785418" y="4317785"/>
            <a:ext cx="439160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500</a:t>
            </a:r>
          </a:p>
        </p:txBody>
      </p:sp>
      <p:sp>
        <p:nvSpPr>
          <p:cNvPr id="352" name="Rectangle: Rounded Corners 351"/>
          <p:cNvSpPr/>
          <p:nvPr/>
        </p:nvSpPr>
        <p:spPr>
          <a:xfrm>
            <a:off x="8739306" y="4760917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33.2%</a:t>
            </a:r>
          </a:p>
        </p:txBody>
      </p:sp>
      <p:cxnSp>
        <p:nvCxnSpPr>
          <p:cNvPr id="370" name="LeanLine Vertical 635138274914804550"/>
          <p:cNvCxnSpPr>
            <a:cxnSpLocks/>
          </p:cNvCxnSpPr>
          <p:nvPr/>
        </p:nvCxnSpPr>
        <p:spPr>
          <a:xfrm flipH="1">
            <a:off x="2624767" y="1309591"/>
            <a:ext cx="0" cy="3964905"/>
          </a:xfrm>
          <a:prstGeom prst="line">
            <a:avLst/>
          </a:prstGeom>
          <a:ln w="15875" cmpd="sng">
            <a:solidFill>
              <a:schemeClr val="accent4"/>
            </a:solidFill>
            <a:prstDash val="sysDot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1" name="Rectangle 380"/>
          <p:cNvSpPr/>
          <p:nvPr>
            <p:custDataLst>
              <p:tags r:id="rId46"/>
            </p:custDataLst>
          </p:nvPr>
        </p:nvSpPr>
        <p:spPr bwMode="auto">
          <a:xfrm>
            <a:off x="10133931" y="3617407"/>
            <a:ext cx="170320" cy="126609"/>
          </a:xfrm>
          <a:prstGeom prst="rect">
            <a:avLst/>
          </a:prstGeom>
          <a:solidFill>
            <a:srgbClr val="3F8CE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68223"/>
            <a:endParaRPr lang="en-GB" sz="189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80" name="Rectangle 379"/>
          <p:cNvSpPr/>
          <p:nvPr>
            <p:custDataLst>
              <p:tags r:id="rId47"/>
            </p:custDataLst>
          </p:nvPr>
        </p:nvSpPr>
        <p:spPr bwMode="auto">
          <a:xfrm>
            <a:off x="9496363" y="3617407"/>
            <a:ext cx="170320" cy="126609"/>
          </a:xfrm>
          <a:prstGeom prst="rect">
            <a:avLst/>
          </a:prstGeom>
          <a:solidFill>
            <a:srgbClr val="9EC9F3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defTabSz="868223"/>
            <a:endParaRPr lang="en-GB" sz="1899" dirty="0">
              <a:solidFill>
                <a:prstClr val="black"/>
              </a:solidFill>
              <a:latin typeface="Verdana"/>
            </a:endParaRPr>
          </a:p>
        </p:txBody>
      </p:sp>
      <p:sp>
        <p:nvSpPr>
          <p:cNvPr id="378" name="Text Placeholder 10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9714915" y="3612886"/>
            <a:ext cx="322552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89BE3A87-02E9-4948-A407-A31E06576FE1}" type="datetime'''''''''P''''''''''''''''''''''HE''V'''''''''''''''''''">
              <a:rPr lang="en-GB" altLang="en-US" sz="949">
                <a:solidFill>
                  <a:prstClr val="black"/>
                </a:solidFill>
                <a:latin typeface="Verdana"/>
                <a:sym typeface="+mn-lt"/>
              </a:rPr>
              <a:pPr marL="0" indent="0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PHEV</a:t>
            </a:fld>
            <a:endParaRPr lang="en-GB" altLang="zh-CN" sz="949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377" name="Text Placeholder 10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0352483" y="3612886"/>
            <a:ext cx="242668" cy="1296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71463" marR="0" indent="-271463" algn="l" defTabSz="981075" rtl="0" eaLnBrk="1" fontAlgn="base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tx1"/>
              </a:buClr>
              <a:buSzPts val="2400"/>
              <a:buFont typeface="Verdana" pitchFamily="34" charset="0"/>
              <a:buChar char="•"/>
              <a:tabLst/>
              <a:defRPr kumimoji="0" lang="en-US" altLang="zh-CN" sz="2000" b="0" i="0" u="none" strike="noStrike" kern="1200" cap="none" spc="0" normalizeH="0" baseline="0" noProof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defRPr>
            </a:lvl1pPr>
            <a:lvl2pPr marL="574675" marR="0" indent="-119063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Verdana"/>
              <a:buChar char="-"/>
              <a:tabLst/>
              <a:defRPr lang="en-CA" altLang="zh-CN" sz="1800" kern="1200" baseline="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52513" marR="0" indent="-287338" algn="l" defTabSz="981075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SzPts val="2200"/>
              <a:buFont typeface="Marlett" pitchFamily="2" charset="2"/>
              <a:buChar char="8"/>
              <a:tabLst/>
              <a:defRPr lang="zh-CN" altLang="en-US" sz="1800" kern="1200" noProof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3896" marR="0" indent="-210312" algn="l" defTabSz="981334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tx1"/>
              </a:buClr>
              <a:buSzTx/>
              <a:buFont typeface="Verdana" pitchFamily="34" charset="0"/>
              <a:buChar char="-"/>
              <a:tabLst/>
              <a:defRPr lang="en-CA" altLang="zh-CN"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08002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400" kern="1200">
                <a:solidFill>
                  <a:schemeClr val="tx1"/>
                </a:solidFill>
                <a:latin typeface="Verdana" pitchFamily="34" charset="0"/>
                <a:ea typeface="+mn-ea"/>
                <a:cs typeface="+mn-cs"/>
              </a:defRPr>
            </a:lvl5pPr>
            <a:lvl6pPr marL="2698669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89336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80003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170670" indent="-245334" algn="l" defTabSz="981334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931531">
              <a:lnSpc>
                <a:spcPct val="90000"/>
              </a:lnSpc>
              <a:spcBef>
                <a:spcPct val="0"/>
              </a:spcBef>
              <a:buClr>
                <a:prstClr val="black"/>
              </a:buClr>
              <a:buNone/>
            </a:pPr>
            <a:fld id="{78549272-D799-4D7C-A71F-1DD180AAD0FD}" type="datetime'''''''B''''E''''''''''V'''''''''''''''''''''''''">
              <a:rPr lang="en-GB" altLang="en-US" sz="949">
                <a:solidFill>
                  <a:prstClr val="black"/>
                </a:solidFill>
                <a:latin typeface="Verdana"/>
                <a:sym typeface="+mn-lt"/>
              </a:rPr>
              <a:pPr marL="0" indent="0" defTabSz="931531">
                <a:lnSpc>
                  <a:spcPct val="90000"/>
                </a:lnSpc>
                <a:spcBef>
                  <a:spcPct val="0"/>
                </a:spcBef>
                <a:buClr>
                  <a:prstClr val="black"/>
                </a:buClr>
                <a:buNone/>
              </a:pPr>
              <a:t>BEV</a:t>
            </a:fld>
            <a:endParaRPr lang="en-GB" altLang="zh-CN" sz="949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cxnSp>
        <p:nvCxnSpPr>
          <p:cNvPr id="383" name="Horizontal Line"/>
          <p:cNvCxnSpPr>
            <a:cxnSpLocks/>
          </p:cNvCxnSpPr>
          <p:nvPr/>
        </p:nvCxnSpPr>
        <p:spPr>
          <a:xfrm>
            <a:off x="1581595" y="1587957"/>
            <a:ext cx="963318" cy="0"/>
          </a:xfrm>
          <a:prstGeom prst="line">
            <a:avLst/>
          </a:prstGeom>
          <a:ln w="22225">
            <a:solidFill>
              <a:schemeClr val="accent4"/>
            </a:solidFill>
            <a:headEnd type="triangle" w="lg" len="lg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4" name="ListLeanHorizontalTextTopic0"/>
          <p:cNvSpPr txBox="1">
            <a:spLocks/>
          </p:cNvSpPr>
          <p:nvPr/>
        </p:nvSpPr>
        <p:spPr>
          <a:xfrm>
            <a:off x="1581596" y="1309591"/>
            <a:ext cx="971541" cy="23997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68360" rtlCol="0" anchor="b">
            <a:spAutoFit/>
          </a:bodyPr>
          <a:lstStyle/>
          <a:p>
            <a:pPr algn="r" defTabSz="868223">
              <a:lnSpc>
                <a:spcPct val="90000"/>
              </a:lnSpc>
              <a:spcBef>
                <a:spcPts val="380"/>
              </a:spcBef>
              <a:buSzPct val="100000"/>
            </a:pPr>
            <a:r>
              <a:rPr lang="en-US" sz="1234" b="1" dirty="0">
                <a:solidFill>
                  <a:prstClr val="black"/>
                </a:solidFill>
                <a:latin typeface="Verdana"/>
                <a:cs typeface="Arial Narrow" pitchFamily="34" charset="0"/>
              </a:rPr>
              <a:t>Historical</a:t>
            </a:r>
          </a:p>
        </p:txBody>
      </p:sp>
      <p:cxnSp>
        <p:nvCxnSpPr>
          <p:cNvPr id="385" name="Horizontal Line"/>
          <p:cNvCxnSpPr/>
          <p:nvPr/>
        </p:nvCxnSpPr>
        <p:spPr>
          <a:xfrm>
            <a:off x="2701668" y="1587957"/>
            <a:ext cx="6470636" cy="0"/>
          </a:xfrm>
          <a:prstGeom prst="line">
            <a:avLst/>
          </a:prstGeom>
          <a:ln w="22225">
            <a:solidFill>
              <a:schemeClr val="accent4"/>
            </a:solidFill>
            <a:tailEnd type="triangle" w="lg" len="lg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6" name="ListLeanHorizontalTextTopic0"/>
          <p:cNvSpPr txBox="1"/>
          <p:nvPr/>
        </p:nvSpPr>
        <p:spPr>
          <a:xfrm>
            <a:off x="2688035" y="1309591"/>
            <a:ext cx="1253056" cy="239976"/>
          </a:xfrm>
          <a:prstGeom prst="rect">
            <a:avLst/>
          </a:prstGeom>
          <a:noFill/>
          <a:ln w="9525">
            <a:noFill/>
          </a:ln>
        </p:spPr>
        <p:txBody>
          <a:bodyPr vert="horz" wrap="square" lIns="0" tIns="0" rIns="0" bIns="68360" rtlCol="0" anchor="b">
            <a:spAutoFit/>
          </a:bodyPr>
          <a:lstStyle/>
          <a:p>
            <a:pPr defTabSz="868223">
              <a:lnSpc>
                <a:spcPct val="90000"/>
              </a:lnSpc>
              <a:spcBef>
                <a:spcPts val="380"/>
              </a:spcBef>
              <a:buSzPct val="100000"/>
            </a:pPr>
            <a:r>
              <a:rPr lang="en-US" sz="1234" b="1" dirty="0">
                <a:solidFill>
                  <a:prstClr val="black"/>
                </a:solidFill>
                <a:latin typeface="Verdana"/>
                <a:cs typeface="Arial Narrow" pitchFamily="34" charset="0"/>
              </a:rPr>
              <a:t>Forecast</a:t>
            </a:r>
            <a:r>
              <a:rPr lang="en-US" sz="1234" b="1" baseline="30000" dirty="0">
                <a:solidFill>
                  <a:prstClr val="black"/>
                </a:solidFill>
                <a:latin typeface="Verdana"/>
                <a:cs typeface="Arial Narrow" pitchFamily="34" charset="0"/>
              </a:rPr>
              <a:t>1)</a:t>
            </a:r>
          </a:p>
        </p:txBody>
      </p:sp>
      <p:sp>
        <p:nvSpPr>
          <p:cNvPr id="393" name="Rectangle 392"/>
          <p:cNvSpPr/>
          <p:nvPr/>
        </p:nvSpPr>
        <p:spPr>
          <a:xfrm>
            <a:off x="1358705" y="6608475"/>
            <a:ext cx="6707230" cy="2383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68223">
              <a:defRPr/>
            </a:pPr>
            <a:r>
              <a:rPr lang="en-US" sz="949" kern="0" dirty="0">
                <a:solidFill>
                  <a:srgbClr val="000000"/>
                </a:solidFill>
                <a:latin typeface="Arial Narrow" charset="0"/>
                <a:sym typeface="+mn-lt"/>
              </a:rPr>
              <a:t>Forecast is based on the assumption that in 2021 sales share of PHEV/BEV will at average share for EU28 to meet CO2 emission targets</a:t>
            </a:r>
            <a:endParaRPr lang="en-GB" sz="1709" kern="0" dirty="0">
              <a:solidFill>
                <a:sysClr val="windowText" lastClr="000000"/>
              </a:solidFill>
              <a:latin typeface="Verdana"/>
            </a:endParaRPr>
          </a:p>
        </p:txBody>
      </p:sp>
      <p:sp>
        <p:nvSpPr>
          <p:cNvPr id="396" name="Rectangle 395"/>
          <p:cNvSpPr/>
          <p:nvPr/>
        </p:nvSpPr>
        <p:spPr>
          <a:xfrm>
            <a:off x="1358706" y="5059936"/>
            <a:ext cx="707104" cy="243704"/>
          </a:xfrm>
          <a:prstGeom prst="rect">
            <a:avLst/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0">
            <a:noAutofit/>
          </a:bodyPr>
          <a:lstStyle/>
          <a:p>
            <a:pPr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BEV (%)</a:t>
            </a:r>
          </a:p>
        </p:txBody>
      </p:sp>
      <p:sp>
        <p:nvSpPr>
          <p:cNvPr id="397" name="Rectangle: Rounded Corners 396"/>
          <p:cNvSpPr/>
          <p:nvPr/>
        </p:nvSpPr>
        <p:spPr>
          <a:xfrm>
            <a:off x="2109010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0.5%</a:t>
            </a:r>
          </a:p>
        </p:txBody>
      </p:sp>
      <p:sp>
        <p:nvSpPr>
          <p:cNvPr id="398" name="Rectangle: Rounded Corners 397"/>
          <p:cNvSpPr/>
          <p:nvPr/>
        </p:nvSpPr>
        <p:spPr>
          <a:xfrm>
            <a:off x="4148004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3.3%</a:t>
            </a:r>
          </a:p>
        </p:txBody>
      </p:sp>
      <p:sp>
        <p:nvSpPr>
          <p:cNvPr id="399" name="Rectangle: Rounded Corners 398"/>
          <p:cNvSpPr/>
          <p:nvPr/>
        </p:nvSpPr>
        <p:spPr>
          <a:xfrm>
            <a:off x="2618758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0.7%</a:t>
            </a:r>
          </a:p>
        </p:txBody>
      </p:sp>
      <p:sp>
        <p:nvSpPr>
          <p:cNvPr id="400" name="Rectangle: Rounded Corners 399"/>
          <p:cNvSpPr/>
          <p:nvPr/>
        </p:nvSpPr>
        <p:spPr>
          <a:xfrm>
            <a:off x="3128507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1.4%</a:t>
            </a:r>
          </a:p>
        </p:txBody>
      </p:sp>
      <p:sp>
        <p:nvSpPr>
          <p:cNvPr id="401" name="Rectangle: Rounded Corners 400"/>
          <p:cNvSpPr/>
          <p:nvPr/>
        </p:nvSpPr>
        <p:spPr>
          <a:xfrm>
            <a:off x="3638255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2.1%</a:t>
            </a:r>
          </a:p>
        </p:txBody>
      </p:sp>
      <p:sp>
        <p:nvSpPr>
          <p:cNvPr id="402" name="Rectangle: Rounded Corners 401"/>
          <p:cNvSpPr/>
          <p:nvPr/>
        </p:nvSpPr>
        <p:spPr>
          <a:xfrm>
            <a:off x="4657753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6.2%</a:t>
            </a:r>
          </a:p>
        </p:txBody>
      </p:sp>
      <p:sp>
        <p:nvSpPr>
          <p:cNvPr id="403" name="Rectangle: Rounded Corners 402"/>
          <p:cNvSpPr/>
          <p:nvPr/>
        </p:nvSpPr>
        <p:spPr>
          <a:xfrm>
            <a:off x="5167501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10.5%</a:t>
            </a:r>
          </a:p>
        </p:txBody>
      </p:sp>
      <p:sp>
        <p:nvSpPr>
          <p:cNvPr id="404" name="Rectangle: Rounded Corners 403"/>
          <p:cNvSpPr/>
          <p:nvPr/>
        </p:nvSpPr>
        <p:spPr>
          <a:xfrm>
            <a:off x="5677250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18%</a:t>
            </a:r>
          </a:p>
        </p:txBody>
      </p:sp>
      <p:sp>
        <p:nvSpPr>
          <p:cNvPr id="405" name="Rectangle: Rounded Corners 404"/>
          <p:cNvSpPr/>
          <p:nvPr/>
        </p:nvSpPr>
        <p:spPr>
          <a:xfrm>
            <a:off x="6186999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25%</a:t>
            </a:r>
          </a:p>
        </p:txBody>
      </p:sp>
      <p:sp>
        <p:nvSpPr>
          <p:cNvPr id="406" name="Rectangle: Rounded Corners 405"/>
          <p:cNvSpPr/>
          <p:nvPr/>
        </p:nvSpPr>
        <p:spPr>
          <a:xfrm>
            <a:off x="6696747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33%</a:t>
            </a:r>
          </a:p>
        </p:txBody>
      </p:sp>
      <p:sp>
        <p:nvSpPr>
          <p:cNvPr id="407" name="Rectangle: Rounded Corners 406"/>
          <p:cNvSpPr/>
          <p:nvPr/>
        </p:nvSpPr>
        <p:spPr>
          <a:xfrm>
            <a:off x="7206496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39.4%</a:t>
            </a:r>
          </a:p>
        </p:txBody>
      </p:sp>
      <p:sp>
        <p:nvSpPr>
          <p:cNvPr id="408" name="Rectangle: Rounded Corners 407"/>
          <p:cNvSpPr/>
          <p:nvPr/>
        </p:nvSpPr>
        <p:spPr>
          <a:xfrm>
            <a:off x="7716244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44.3%</a:t>
            </a:r>
          </a:p>
        </p:txBody>
      </p:sp>
      <p:sp>
        <p:nvSpPr>
          <p:cNvPr id="409" name="Rectangle: Rounded Corners 408"/>
          <p:cNvSpPr/>
          <p:nvPr/>
        </p:nvSpPr>
        <p:spPr>
          <a:xfrm>
            <a:off x="8225993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48%</a:t>
            </a:r>
          </a:p>
        </p:txBody>
      </p:sp>
      <p:sp>
        <p:nvSpPr>
          <p:cNvPr id="410" name="Rectangle: Rounded Corners 409"/>
          <p:cNvSpPr/>
          <p:nvPr/>
        </p:nvSpPr>
        <p:spPr>
          <a:xfrm>
            <a:off x="8735738" y="5071523"/>
            <a:ext cx="531384" cy="234411"/>
          </a:xfrm>
          <a:prstGeom prst="roundRect">
            <a:avLst>
              <a:gd name="adj" fmla="val 50000"/>
            </a:avLst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1">
            <a:noAutofit/>
          </a:bodyPr>
          <a:lstStyle/>
          <a:p>
            <a:pPr algn="ctr"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dirty="0">
                <a:solidFill>
                  <a:prstClr val="black"/>
                </a:solidFill>
                <a:latin typeface="Verdana"/>
              </a:rPr>
              <a:t>49.8%</a:t>
            </a:r>
          </a:p>
        </p:txBody>
      </p:sp>
      <p:pic>
        <p:nvPicPr>
          <p:cNvPr id="416" name="Picture 415" descr="d:\Documents and settings\Marc_Robisch\Desktop\Flaggen_gross\be-lgflag.gif"/>
          <p:cNvPicPr>
            <a:picLocks noChangeArrowheads="1"/>
          </p:cNvPicPr>
          <p:nvPr>
            <p:custDataLst>
              <p:tags r:id="rId50"/>
            </p:custDataLst>
          </p:nvPr>
        </p:nvPicPr>
        <p:blipFill>
          <a:blip r:embed="rId56" cstate="print"/>
          <a:srcRect l="1006" t="1104" r="1102" b="1104"/>
          <a:stretch>
            <a:fillRect/>
          </a:stretch>
        </p:blipFill>
        <p:spPr bwMode="auto">
          <a:xfrm>
            <a:off x="10168598" y="1209973"/>
            <a:ext cx="310625" cy="310625"/>
          </a:xfrm>
          <a:prstGeom prst="ellipse">
            <a:avLst/>
          </a:prstGeom>
          <a:noFill/>
          <a:scene3d>
            <a:camera prst="orthographicFront"/>
            <a:lightRig rig="threePt" dir="t"/>
          </a:scene3d>
          <a:sp3d prstMaterial="matte">
            <a:bevelT w="323850" h="107950"/>
          </a:sp3d>
        </p:spPr>
      </p:pic>
      <p:sp>
        <p:nvSpPr>
          <p:cNvPr id="8" name="Rectangle 7"/>
          <p:cNvSpPr/>
          <p:nvPr/>
        </p:nvSpPr>
        <p:spPr>
          <a:xfrm>
            <a:off x="1250031" y="5742511"/>
            <a:ext cx="6213330" cy="735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1765" indent="-141765" defTabSz="868223" fontAlgn="base">
              <a:spcAft>
                <a:spcPct val="0"/>
              </a:spcAft>
              <a:buClr>
                <a:srgbClr val="000000"/>
              </a:buClr>
              <a:buSzPct val="100000"/>
              <a:buFont typeface="Verdana" panose="020B0604030504040204" pitchFamily="34" charset="0"/>
              <a:buChar char="•"/>
            </a:pPr>
            <a:r>
              <a:rPr lang="en-US" sz="1044" dirty="0">
                <a:solidFill>
                  <a:prstClr val="black"/>
                </a:solidFill>
                <a:latin typeface="Arial Narrow" panose="020B0606020202030204" pitchFamily="34" charset="0"/>
              </a:rPr>
              <a:t>(P)HEV and EV will represent 50% in 2025 and 80% in 2030. A majority will/might be mild hybrids</a:t>
            </a:r>
          </a:p>
          <a:p>
            <a:pPr marL="141765" indent="-141765" defTabSz="868223" fontAlgn="base">
              <a:spcAft>
                <a:spcPct val="0"/>
              </a:spcAft>
              <a:buClr>
                <a:srgbClr val="000000"/>
              </a:buClr>
              <a:buSzPct val="100000"/>
              <a:buFont typeface="Verdana" panose="020B0604030504040204" pitchFamily="34" charset="0"/>
              <a:buChar char="•"/>
            </a:pPr>
            <a:r>
              <a:rPr lang="en-US" sz="1044" dirty="0">
                <a:solidFill>
                  <a:prstClr val="black"/>
                </a:solidFill>
                <a:latin typeface="Arial Narrow" panose="020B0606020202030204" pitchFamily="34" charset="0"/>
              </a:rPr>
              <a:t>Electric vehicles are on track to accelerate to 50% of new car sales by 2030</a:t>
            </a:r>
          </a:p>
          <a:p>
            <a:pPr marL="141765" indent="-141765" defTabSz="868223" fontAlgn="base">
              <a:spcAft>
                <a:spcPct val="0"/>
              </a:spcAft>
              <a:buClr>
                <a:srgbClr val="000000"/>
              </a:buClr>
              <a:buSzPct val="100000"/>
              <a:buFont typeface="Verdana" panose="020B0604030504040204" pitchFamily="34" charset="0"/>
              <a:buChar char="•"/>
            </a:pPr>
            <a:r>
              <a:rPr lang="en-US" sz="1044" dirty="0">
                <a:solidFill>
                  <a:prstClr val="black"/>
                </a:solidFill>
                <a:latin typeface="Arial Narrow" panose="020B0606020202030204" pitchFamily="34" charset="0"/>
              </a:rPr>
              <a:t>We estimate the Belgian market at 2600 EV cars in Belgium in 2017, this amount will increase to 166.000 in 2030 </a:t>
            </a:r>
          </a:p>
          <a:p>
            <a:pPr marL="141765" indent="-141765" defTabSz="868223" fontAlgn="base">
              <a:spcAft>
                <a:spcPct val="0"/>
              </a:spcAft>
              <a:buClr>
                <a:srgbClr val="000000"/>
              </a:buClr>
              <a:buSzPct val="100000"/>
              <a:buFont typeface="Verdana" panose="020B0604030504040204" pitchFamily="34" charset="0"/>
              <a:buChar char="•"/>
            </a:pPr>
            <a:endParaRPr lang="en-US" sz="1044" dirty="0">
              <a:solidFill>
                <a:prstClr val="black"/>
              </a:solidFill>
              <a:latin typeface="Arial Narrow" panose="020B0606020202030204" pitchFamily="34" charset="0"/>
            </a:endParaRPr>
          </a:p>
        </p:txBody>
      </p:sp>
      <p:sp>
        <p:nvSpPr>
          <p:cNvPr id="142" name="Rectangle 141"/>
          <p:cNvSpPr/>
          <p:nvPr/>
        </p:nvSpPr>
        <p:spPr>
          <a:xfrm>
            <a:off x="1358706" y="5532953"/>
            <a:ext cx="1137976" cy="230498"/>
          </a:xfrm>
          <a:prstGeom prst="rect">
            <a:avLst/>
          </a:prstGeom>
          <a:ln w="9525">
            <a:noFill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ctr" anchorCtr="0">
            <a:noAutofit/>
          </a:bodyPr>
          <a:lstStyle/>
          <a:p>
            <a:pPr defTabSz="868223">
              <a:lnSpc>
                <a:spcPct val="90000"/>
              </a:lnSpc>
              <a:spcBef>
                <a:spcPts val="380"/>
              </a:spcBef>
            </a:pPr>
            <a:r>
              <a:rPr lang="en-US" sz="1044" b="1" dirty="0">
                <a:solidFill>
                  <a:prstClr val="black"/>
                </a:solidFill>
                <a:latin typeface="Verdana"/>
              </a:rPr>
              <a:t>Assumptions</a:t>
            </a:r>
          </a:p>
        </p:txBody>
      </p:sp>
    </p:spTree>
    <p:extLst>
      <p:ext uri="{BB962C8B-B14F-4D97-AF65-F5344CB8AC3E}">
        <p14:creationId xmlns:p14="http://schemas.microsoft.com/office/powerpoint/2010/main" val="119077929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0" name="Object 9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1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00" name="Object 9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9" name="Rectangle 98" hidden="1"/>
          <p:cNvSpPr/>
          <p:nvPr>
            <p:custDataLst>
              <p:tags r:id="rId3"/>
            </p:custDataLst>
          </p:nvPr>
        </p:nvSpPr>
        <p:spPr bwMode="auto">
          <a:xfrm>
            <a:off x="1177835" y="1"/>
            <a:ext cx="150725" cy="150725"/>
          </a:xfrm>
          <a:prstGeom prst="rect">
            <a:avLst/>
          </a:pr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 defTabSz="868223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1234" b="1" dirty="0">
              <a:solidFill>
                <a:prstClr val="black"/>
              </a:solidFill>
              <a:latin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6BB90B9-8086-474E-8FD4-1C8C44358A3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 err="1"/>
              <a:t>Tax</a:t>
            </a:r>
            <a:r>
              <a:rPr lang="fr-BE" sz="1899" dirty="0"/>
              <a:t> </a:t>
            </a:r>
            <a:r>
              <a:rPr lang="fr-BE" sz="1899" dirty="0" err="1"/>
              <a:t>incentives</a:t>
            </a:r>
            <a:r>
              <a:rPr lang="fr-BE" sz="1899" dirty="0"/>
              <a:t> on </a:t>
            </a:r>
            <a:r>
              <a:rPr lang="fr-BE" sz="1899" dirty="0" err="1"/>
              <a:t>EV's</a:t>
            </a:r>
            <a:r>
              <a:rPr lang="fr-BE" sz="1899" dirty="0"/>
              <a:t> in </a:t>
            </a:r>
            <a:r>
              <a:rPr lang="fr-BE" sz="1899" dirty="0" err="1"/>
              <a:t>European</a:t>
            </a:r>
            <a:r>
              <a:rPr lang="fr-BE" sz="1899" dirty="0"/>
              <a:t> countries</a:t>
            </a:r>
            <a:endParaRPr lang="nl-BE" sz="1899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383507" y="1241223"/>
            <a:ext cx="8507607" cy="52354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354994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5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58990" y="1241223"/>
            <a:ext cx="8949997" cy="502027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7966" y="0"/>
            <a:ext cx="11572806" cy="834431"/>
          </a:xfrm>
        </p:spPr>
        <p:txBody>
          <a:bodyPr/>
          <a:lstStyle/>
          <a:p>
            <a:r>
              <a:rPr lang="fr-BE" sz="1899" dirty="0"/>
              <a:t>Expansion of EV </a:t>
            </a:r>
            <a:r>
              <a:rPr lang="fr-BE" sz="1899" dirty="0" err="1"/>
              <a:t>charging</a:t>
            </a:r>
            <a:r>
              <a:rPr lang="fr-BE" sz="1899" dirty="0"/>
              <a:t> infrastructure in EU</a:t>
            </a:r>
            <a:endParaRPr lang="nl-BE" sz="1899" dirty="0"/>
          </a:p>
        </p:txBody>
      </p:sp>
      <p:sp>
        <p:nvSpPr>
          <p:cNvPr id="7" name="Source"/>
          <p:cNvSpPr txBox="1"/>
          <p:nvPr/>
        </p:nvSpPr>
        <p:spPr>
          <a:xfrm>
            <a:off x="1515342" y="6633076"/>
            <a:ext cx="2548775" cy="118430"/>
          </a:xfrm>
          <a:prstGeom prst="rect">
            <a:avLst/>
          </a:prstGeom>
          <a:noFill/>
          <a:ln w="9525">
            <a:noFill/>
          </a:ln>
        </p:spPr>
        <p:txBody>
          <a:bodyPr vert="horz" wrap="none" lIns="0" tIns="0" rIns="0" bIns="0" rtlCol="0" anchor="b" anchorCtr="0">
            <a:spAutoFit/>
          </a:bodyPr>
          <a:lstStyle/>
          <a:p>
            <a:pPr defTabSz="868223">
              <a:lnSpc>
                <a:spcPct val="90000"/>
              </a:lnSpc>
              <a:buSzPct val="100000"/>
            </a:pPr>
            <a:r>
              <a:rPr lang="en-US" sz="855" dirty="0">
                <a:solidFill>
                  <a:prstClr val="black"/>
                </a:solidFill>
                <a:latin typeface="Verdana"/>
                <a:sym typeface="+mn-lt"/>
              </a:rPr>
              <a:t>Source: </a:t>
            </a:r>
            <a:r>
              <a:rPr lang="en-US" sz="855" dirty="0">
                <a:solidFill>
                  <a:srgbClr val="000000"/>
                </a:solidFill>
                <a:latin typeface="Arial Narrow" panose="020B0606020202030204" pitchFamily="34" charset="0"/>
              </a:rPr>
              <a:t>International Energy Agency, Nissan, Roland Berger</a:t>
            </a:r>
            <a:endParaRPr lang="en-US" sz="855" dirty="0">
              <a:solidFill>
                <a:prstClr val="black"/>
              </a:solidFill>
              <a:latin typeface="Verdana"/>
              <a:sym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922E38-F149-4BE7-BCBE-D9486EA8DC93}"/>
              </a:ext>
            </a:extLst>
          </p:cNvPr>
          <p:cNvSpPr txBox="1"/>
          <p:nvPr/>
        </p:nvSpPr>
        <p:spPr>
          <a:xfrm>
            <a:off x="1475042" y="6261495"/>
            <a:ext cx="8586304" cy="273581"/>
          </a:xfrm>
          <a:prstGeom prst="rect">
            <a:avLst/>
          </a:prstGeom>
          <a:noFill/>
        </p:spPr>
        <p:txBody>
          <a:bodyPr wrap="square" lIns="34180" tIns="34180" rIns="34180" bIns="34180" rtlCol="0">
            <a:spAutoFit/>
          </a:bodyPr>
          <a:lstStyle/>
          <a:p>
            <a:pPr defTabSz="868223"/>
            <a:r>
              <a:rPr lang="fr-BE" sz="1329" dirty="0">
                <a:solidFill>
                  <a:prstClr val="black"/>
                </a:solidFill>
                <a:latin typeface="Verdana"/>
              </a:rPr>
              <a:t>The </a:t>
            </a:r>
            <a:r>
              <a:rPr lang="fr-BE" sz="1329" dirty="0" err="1">
                <a:solidFill>
                  <a:prstClr val="black"/>
                </a:solidFill>
                <a:latin typeface="Verdana"/>
              </a:rPr>
              <a:t>number</a:t>
            </a:r>
            <a:r>
              <a:rPr lang="fr-BE" sz="1329" dirty="0">
                <a:solidFill>
                  <a:prstClr val="black"/>
                </a:solidFill>
                <a:latin typeface="Verdana"/>
              </a:rPr>
              <a:t> of AC </a:t>
            </a:r>
            <a:r>
              <a:rPr lang="fr-BE" sz="1329" dirty="0" err="1">
                <a:solidFill>
                  <a:prstClr val="black"/>
                </a:solidFill>
                <a:latin typeface="Verdana"/>
              </a:rPr>
              <a:t>chargers</a:t>
            </a:r>
            <a:r>
              <a:rPr lang="fr-BE" sz="1329" dirty="0">
                <a:solidFill>
                  <a:prstClr val="black"/>
                </a:solidFill>
                <a:latin typeface="Verdana"/>
              </a:rPr>
              <a:t> to </a:t>
            </a:r>
            <a:r>
              <a:rPr lang="fr-BE" sz="1329" dirty="0" err="1">
                <a:solidFill>
                  <a:prstClr val="black"/>
                </a:solidFill>
                <a:latin typeface="Verdana"/>
              </a:rPr>
              <a:t>rise</a:t>
            </a:r>
            <a:r>
              <a:rPr lang="fr-BE" sz="1329" dirty="0">
                <a:solidFill>
                  <a:prstClr val="black"/>
                </a:solidFill>
                <a:latin typeface="Verdana"/>
              </a:rPr>
              <a:t> over 32 million </a:t>
            </a:r>
            <a:r>
              <a:rPr lang="fr-BE" sz="1329" dirty="0" err="1">
                <a:solidFill>
                  <a:prstClr val="black"/>
                </a:solidFill>
                <a:latin typeface="Verdana"/>
              </a:rPr>
              <a:t>worldwide</a:t>
            </a:r>
            <a:r>
              <a:rPr lang="fr-BE" sz="1329" dirty="0">
                <a:solidFill>
                  <a:prstClr val="black"/>
                </a:solidFill>
                <a:latin typeface="Verdana"/>
              </a:rPr>
              <a:t> in 2023, source IHS </a:t>
            </a:r>
            <a:r>
              <a:rPr lang="fr-BE" sz="1329" dirty="0" err="1">
                <a:solidFill>
                  <a:prstClr val="black"/>
                </a:solidFill>
                <a:latin typeface="Verdana"/>
              </a:rPr>
              <a:t>Markit</a:t>
            </a:r>
            <a:endParaRPr lang="nl-BE" sz="1329" dirty="0" err="1">
              <a:solidFill>
                <a:prstClr val="black"/>
              </a:solidFill>
              <a:latin typeface="Verdana"/>
            </a:endParaRPr>
          </a:p>
        </p:txBody>
      </p:sp>
    </p:spTree>
    <p:extLst>
      <p:ext uri="{BB962C8B-B14F-4D97-AF65-F5344CB8AC3E}">
        <p14:creationId xmlns:p14="http://schemas.microsoft.com/office/powerpoint/2010/main" val="162938457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/>
              <a:t>Drive Concepts</a:t>
            </a:r>
            <a:endParaRPr lang="nl-BE" sz="1899" dirty="0"/>
          </a:p>
        </p:txBody>
      </p:sp>
      <p:pic>
        <p:nvPicPr>
          <p:cNvPr id="4" name="Picture 2">
            <a:extLst>
              <a:ext uri="{FF2B5EF4-FFF2-40B4-BE49-F238E27FC236}">
                <a16:creationId xmlns:a16="http://schemas.microsoft.com/office/drawing/2014/main" id="{99FB4A13-134D-4CE5-A692-BDE874429D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591" y="1304013"/>
            <a:ext cx="10432112" cy="505702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101400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4000" dirty="0" err="1"/>
              <a:t>Système</a:t>
            </a:r>
            <a:r>
              <a:rPr lang="de-DE" sz="4000" dirty="0"/>
              <a:t> haute </a:t>
            </a:r>
            <a:r>
              <a:rPr lang="de-DE" sz="4000" dirty="0" err="1"/>
              <a:t>tension</a:t>
            </a:r>
            <a:endParaRPr lang="de-DE" sz="400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  <a:latin typeface="Calibri"/>
              </a:rPr>
              <a:t>04.2014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  <a:latin typeface="Calibri"/>
              </a:rPr>
              <a:t>• VSQ/TT •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8CA1DD-5EE9-4A5C-9460-BBFB000F24F6}" type="slidenum">
              <a:rPr lang="de-DE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4</a:t>
            </a:fld>
            <a:endParaRPr lang="de-DE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740000" y="982801"/>
            <a:ext cx="8820000" cy="430887"/>
          </a:xfrm>
        </p:spPr>
        <p:txBody>
          <a:bodyPr/>
          <a:lstStyle/>
          <a:p>
            <a:r>
              <a:rPr lang="de-DE" dirty="0" err="1"/>
              <a:t>Composants</a:t>
            </a:r>
            <a:r>
              <a:rPr lang="de-DE" dirty="0"/>
              <a:t> :</a:t>
            </a:r>
          </a:p>
        </p:txBody>
      </p:sp>
      <p:pic>
        <p:nvPicPr>
          <p:cNvPr id="18" name="Grafik 17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155" r="9663"/>
          <a:stretch/>
        </p:blipFill>
        <p:spPr>
          <a:xfrm>
            <a:off x="3554828" y="1602698"/>
            <a:ext cx="5496779" cy="4283556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8633842" y="2499779"/>
            <a:ext cx="2544286" cy="4565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tterie haute 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ension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8" name="Rechteck 7"/>
          <p:cNvSpPr/>
          <p:nvPr/>
        </p:nvSpPr>
        <p:spPr>
          <a:xfrm>
            <a:off x="1869288" y="2636406"/>
            <a:ext cx="1133644" cy="4565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-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eur</a:t>
            </a:r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Rechteck 9"/>
          <p:cNvSpPr/>
          <p:nvPr/>
        </p:nvSpPr>
        <p:spPr>
          <a:xfrm>
            <a:off x="4029533" y="1517078"/>
            <a:ext cx="2890535" cy="4565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ectronique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issance</a:t>
            </a:r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hteck 10"/>
          <p:cNvSpPr/>
          <p:nvPr/>
        </p:nvSpPr>
        <p:spPr>
          <a:xfrm>
            <a:off x="7932897" y="1526407"/>
            <a:ext cx="292900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nexion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ge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CS</a:t>
            </a:r>
          </a:p>
          <a:p>
            <a:pPr algn="ctr"/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tion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2" name="Rechteck 11"/>
          <p:cNvSpPr/>
          <p:nvPr/>
        </p:nvSpPr>
        <p:spPr>
          <a:xfrm>
            <a:off x="1962329" y="1684807"/>
            <a:ext cx="1146468" cy="4565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rgeur</a:t>
            </a:r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6835913" y="4685848"/>
            <a:ext cx="5224507" cy="5078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mplificateur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issance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einage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ctrique</a:t>
            </a:r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hteck 13"/>
          <p:cNvSpPr/>
          <p:nvPr/>
        </p:nvSpPr>
        <p:spPr>
          <a:xfrm>
            <a:off x="6303217" y="5569776"/>
            <a:ext cx="1633781" cy="45653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lnSpc>
                <a:spcPct val="150000"/>
              </a:lnSpc>
            </a:pP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îtier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teur</a:t>
            </a:r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hteck 14"/>
          <p:cNvSpPr/>
          <p:nvPr/>
        </p:nvSpPr>
        <p:spPr>
          <a:xfrm>
            <a:off x="1512365" y="4784945"/>
            <a:ext cx="2313455" cy="7848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resseur</a:t>
            </a:r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‘airco</a:t>
            </a:r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de-DE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électrique</a:t>
            </a:r>
            <a:endParaRPr lang="de-DE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Line 4"/>
          <p:cNvSpPr>
            <a:spLocks noChangeShapeType="1"/>
          </p:cNvSpPr>
          <p:nvPr/>
        </p:nvSpPr>
        <p:spPr bwMode="auto">
          <a:xfrm>
            <a:off x="2669091" y="3092941"/>
            <a:ext cx="1796517" cy="79883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0" name="Line 4"/>
          <p:cNvSpPr>
            <a:spLocks noChangeShapeType="1"/>
          </p:cNvSpPr>
          <p:nvPr/>
        </p:nvSpPr>
        <p:spPr bwMode="auto">
          <a:xfrm>
            <a:off x="2957538" y="2137841"/>
            <a:ext cx="1689224" cy="1522635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1" name="Line 4"/>
          <p:cNvSpPr>
            <a:spLocks noChangeShapeType="1"/>
          </p:cNvSpPr>
          <p:nvPr/>
        </p:nvSpPr>
        <p:spPr bwMode="auto">
          <a:xfrm>
            <a:off x="5604294" y="3891779"/>
            <a:ext cx="2080242" cy="784831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3" name="Line 4"/>
          <p:cNvSpPr>
            <a:spLocks noChangeShapeType="1"/>
          </p:cNvSpPr>
          <p:nvPr/>
        </p:nvSpPr>
        <p:spPr bwMode="auto">
          <a:xfrm>
            <a:off x="5109315" y="4079970"/>
            <a:ext cx="1650919" cy="1484068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4" name="Line 4"/>
          <p:cNvSpPr>
            <a:spLocks noChangeShapeType="1"/>
          </p:cNvSpPr>
          <p:nvPr/>
        </p:nvSpPr>
        <p:spPr bwMode="auto">
          <a:xfrm flipH="1">
            <a:off x="2878348" y="3891779"/>
            <a:ext cx="1270959" cy="893167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5" name="Line 4"/>
          <p:cNvSpPr>
            <a:spLocks noChangeShapeType="1"/>
          </p:cNvSpPr>
          <p:nvPr/>
        </p:nvSpPr>
        <p:spPr bwMode="auto">
          <a:xfrm flipH="1">
            <a:off x="4879675" y="1973613"/>
            <a:ext cx="71050" cy="168686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6" name="Line 4"/>
          <p:cNvSpPr>
            <a:spLocks noChangeShapeType="1"/>
          </p:cNvSpPr>
          <p:nvPr/>
        </p:nvSpPr>
        <p:spPr bwMode="auto">
          <a:xfrm flipV="1">
            <a:off x="7001774" y="2817043"/>
            <a:ext cx="1676079" cy="691032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27" name="Line 4"/>
          <p:cNvSpPr>
            <a:spLocks noChangeShapeType="1"/>
          </p:cNvSpPr>
          <p:nvPr/>
        </p:nvSpPr>
        <p:spPr bwMode="auto">
          <a:xfrm flipH="1">
            <a:off x="6691224" y="1973613"/>
            <a:ext cx="1986629" cy="524546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03356785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ystème</a:t>
            </a:r>
            <a:r>
              <a:rPr lang="de-DE" dirty="0"/>
              <a:t> haute </a:t>
            </a:r>
            <a:r>
              <a:rPr lang="de-DE" dirty="0" err="1"/>
              <a:t>tensio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  <a:latin typeface="Calibri"/>
              </a:rPr>
              <a:t>04.2014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  <a:latin typeface="Calibri"/>
              </a:rPr>
              <a:t>• VSQ/TT •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8CA1DD-5EE9-4A5C-9460-BBFB000F24F6}" type="slidenum">
              <a:rPr lang="de-DE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5</a:t>
            </a:fld>
            <a:endParaRPr lang="de-DE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740000" y="982801"/>
            <a:ext cx="8820000" cy="430887"/>
          </a:xfrm>
        </p:spPr>
        <p:txBody>
          <a:bodyPr/>
          <a:lstStyle/>
          <a:p>
            <a:r>
              <a:rPr lang="de-DE" dirty="0"/>
              <a:t>Concept de </a:t>
            </a:r>
            <a:r>
              <a:rPr lang="de-DE" dirty="0" err="1"/>
              <a:t>charge</a:t>
            </a:r>
            <a:endParaRPr lang="de-DE" dirty="0"/>
          </a:p>
        </p:txBody>
      </p:sp>
      <p:sp>
        <p:nvSpPr>
          <p:cNvPr id="7" name="Abgerundetes Rechteck 6"/>
          <p:cNvSpPr/>
          <p:nvPr/>
        </p:nvSpPr>
        <p:spPr bwMode="auto">
          <a:xfrm>
            <a:off x="5774619" y="2940279"/>
            <a:ext cx="1354511" cy="808385"/>
          </a:xfrm>
          <a:prstGeom prst="round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vert="horz" wrap="none" lIns="540000" tIns="270000" rIns="91440" bIns="90000" numCol="1" rtlCol="0" anchor="ctr" anchorCtr="0" compatLnSpc="1">
            <a:prstTxWarp prst="textNoShape">
              <a:avLst/>
            </a:prstTxWarp>
          </a:bodyPr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kern="0">
              <a:solidFill>
                <a:srgbClr val="333333"/>
              </a:solidFill>
              <a:latin typeface="VW Headline OT-Book" pitchFamily="34" charset="0"/>
            </a:endParaRPr>
          </a:p>
        </p:txBody>
      </p:sp>
      <p:sp>
        <p:nvSpPr>
          <p:cNvPr id="8" name="Abgerundetes Rechteck 7"/>
          <p:cNvSpPr/>
          <p:nvPr/>
        </p:nvSpPr>
        <p:spPr bwMode="auto">
          <a:xfrm>
            <a:off x="4146304" y="2940279"/>
            <a:ext cx="1354511" cy="808385"/>
          </a:xfrm>
          <a:prstGeom prst="round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vert="horz" wrap="none" lIns="540000" tIns="270000" rIns="91440" bIns="90000" numCol="1" rtlCol="0" anchor="ctr" anchorCtr="0" compatLnSpc="1">
            <a:prstTxWarp prst="textNoShape">
              <a:avLst/>
            </a:prstTxWarp>
          </a:bodyPr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kern="0">
              <a:solidFill>
                <a:srgbClr val="333333"/>
              </a:solidFill>
              <a:latin typeface="VW Headline OT-Book" pitchFamily="34" charset="0"/>
            </a:endParaRPr>
          </a:p>
        </p:txBody>
      </p:sp>
      <p:sp>
        <p:nvSpPr>
          <p:cNvPr id="9" name="Abgerundetes Rechteck 8"/>
          <p:cNvSpPr/>
          <p:nvPr/>
        </p:nvSpPr>
        <p:spPr bwMode="auto">
          <a:xfrm>
            <a:off x="7407741" y="3081719"/>
            <a:ext cx="1239194" cy="666945"/>
          </a:xfrm>
          <a:prstGeom prst="round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vert="horz" wrap="none" lIns="540000" tIns="270000" rIns="91440" bIns="90000" numCol="1" rtlCol="0" anchor="ctr" anchorCtr="0" compatLnSpc="1">
            <a:prstTxWarp prst="textNoShape">
              <a:avLst/>
            </a:prstTxWarp>
          </a:bodyPr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kern="0">
              <a:solidFill>
                <a:srgbClr val="333333"/>
              </a:solidFill>
              <a:latin typeface="VW Headline OT-Book" pitchFamily="34" charset="0"/>
            </a:endParaRPr>
          </a:p>
        </p:txBody>
      </p:sp>
      <p:sp>
        <p:nvSpPr>
          <p:cNvPr id="10" name="Abgerundetes Rechteck 9"/>
          <p:cNvSpPr/>
          <p:nvPr/>
        </p:nvSpPr>
        <p:spPr bwMode="auto">
          <a:xfrm>
            <a:off x="5793669" y="2940279"/>
            <a:ext cx="1354511" cy="808385"/>
          </a:xfrm>
          <a:prstGeom prst="round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vert="horz" wrap="none" lIns="540000" tIns="270000" rIns="91440" bIns="90000" numCol="1" rtlCol="0" anchor="ctr" anchorCtr="0" compatLnSpc="1">
            <a:prstTxWarp prst="textNoShape">
              <a:avLst/>
            </a:prstTxWarp>
          </a:bodyPr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kern="0">
              <a:solidFill>
                <a:srgbClr val="333333"/>
              </a:solidFill>
              <a:latin typeface="VW Headline OT-Book" pitchFamily="34" charset="0"/>
            </a:endParaRPr>
          </a:p>
        </p:txBody>
      </p:sp>
      <p:sp>
        <p:nvSpPr>
          <p:cNvPr id="11" name="Abgerundetes Rechteck 10"/>
          <p:cNvSpPr/>
          <p:nvPr/>
        </p:nvSpPr>
        <p:spPr bwMode="auto">
          <a:xfrm>
            <a:off x="4165354" y="2930754"/>
            <a:ext cx="1354511" cy="808385"/>
          </a:xfrm>
          <a:prstGeom prst="round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vert="horz" wrap="none" lIns="540000" tIns="270000" rIns="91440" bIns="90000" numCol="1" rtlCol="0" anchor="ctr" anchorCtr="0" compatLnSpc="1">
            <a:prstTxWarp prst="textNoShape">
              <a:avLst/>
            </a:prstTxWarp>
          </a:bodyPr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kern="0">
              <a:solidFill>
                <a:srgbClr val="333333"/>
              </a:solidFill>
              <a:latin typeface="VW Headline OT-Book" pitchFamily="34" charset="0"/>
            </a:endParaRPr>
          </a:p>
        </p:txBody>
      </p:sp>
      <p:sp>
        <p:nvSpPr>
          <p:cNvPr id="12" name="Abgerundetes Rechteck 11"/>
          <p:cNvSpPr/>
          <p:nvPr/>
        </p:nvSpPr>
        <p:spPr bwMode="auto">
          <a:xfrm>
            <a:off x="7426791" y="3043618"/>
            <a:ext cx="1354511" cy="695520"/>
          </a:xfrm>
          <a:prstGeom prst="roundRect">
            <a:avLst/>
          </a:prstGeom>
          <a:solidFill>
            <a:srgbClr val="FFFFFF"/>
          </a:solidFill>
          <a:ln>
            <a:noFill/>
          </a:ln>
          <a:effectLst/>
          <a:extLst/>
        </p:spPr>
        <p:txBody>
          <a:bodyPr vert="horz" wrap="none" lIns="540000" tIns="270000" rIns="91440" bIns="90000" numCol="1" rtlCol="0" anchor="ctr" anchorCtr="0" compatLnSpc="1">
            <a:prstTxWarp prst="textNoShape">
              <a:avLst/>
            </a:prstTxWarp>
          </a:bodyPr>
          <a:lstStyle/>
          <a:p>
            <a:pPr marL="530225"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de-DE" kern="0">
              <a:solidFill>
                <a:srgbClr val="333333"/>
              </a:solidFill>
              <a:latin typeface="VW Headline OT-Book" pitchFamily="34" charset="0"/>
            </a:endParaRPr>
          </a:p>
        </p:txBody>
      </p:sp>
      <p:pic>
        <p:nvPicPr>
          <p:cNvPr id="13" name="Grafik 12" descr="s_1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036183" y="1580236"/>
            <a:ext cx="8131585" cy="4512833"/>
          </a:xfrm>
          <a:prstGeom prst="rect">
            <a:avLst/>
          </a:prstGeom>
        </p:spPr>
      </p:pic>
      <p:pic>
        <p:nvPicPr>
          <p:cNvPr id="14" name="Grafik 13" descr="saeule.pn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7954267" y="4512123"/>
            <a:ext cx="924553" cy="1166912"/>
          </a:xfrm>
          <a:prstGeom prst="rect">
            <a:avLst/>
          </a:prstGeom>
        </p:spPr>
      </p:pic>
      <p:pic>
        <p:nvPicPr>
          <p:cNvPr id="15" name="Grafik 14" descr="stcekr.pn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393858" y="3699264"/>
            <a:ext cx="1259559" cy="814606"/>
          </a:xfrm>
          <a:prstGeom prst="rect">
            <a:avLst/>
          </a:prstGeom>
        </p:spPr>
      </p:pic>
      <p:pic>
        <p:nvPicPr>
          <p:cNvPr id="16" name="Grafik 15" descr="Wallbox.png"/>
          <p:cNvPicPr>
            <a:picLocks noChangeAspect="1"/>
          </p:cNvPicPr>
          <p:nvPr/>
        </p:nvPicPr>
        <p:blipFill>
          <a:blip r:embed="rId6" cstate="print"/>
          <a:srcRect b="25683"/>
          <a:stretch>
            <a:fillRect/>
          </a:stretch>
        </p:blipFill>
        <p:spPr>
          <a:xfrm>
            <a:off x="6787677" y="2271154"/>
            <a:ext cx="586532" cy="1048276"/>
          </a:xfrm>
          <a:prstGeom prst="rect">
            <a:avLst/>
          </a:prstGeom>
        </p:spPr>
      </p:pic>
      <p:pic>
        <p:nvPicPr>
          <p:cNvPr id="17" name="Grafik 16" descr="Logos_gebäude1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154833" y="3409787"/>
            <a:ext cx="667467" cy="626931"/>
          </a:xfrm>
          <a:prstGeom prst="rect">
            <a:avLst/>
          </a:prstGeom>
        </p:spPr>
      </p:pic>
      <p:pic>
        <p:nvPicPr>
          <p:cNvPr id="18" name="Grafik 17" descr="Logos_gebäude2.pn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9156179" y="1997856"/>
            <a:ext cx="664775" cy="645036"/>
          </a:xfrm>
          <a:prstGeom prst="rect">
            <a:avLst/>
          </a:prstGeom>
        </p:spPr>
      </p:pic>
      <p:pic>
        <p:nvPicPr>
          <p:cNvPr id="22" name="Grafik 21" descr="Logos_gebäude1.pn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9154833" y="4803612"/>
            <a:ext cx="667467" cy="626931"/>
          </a:xfrm>
          <a:prstGeom prst="rect">
            <a:avLst/>
          </a:prstGeom>
        </p:spPr>
      </p:pic>
      <p:pic>
        <p:nvPicPr>
          <p:cNvPr id="23" name="Grafik 22" descr="Starkstrom.png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8157907" y="2375748"/>
            <a:ext cx="400716" cy="534289"/>
          </a:xfrm>
          <a:prstGeom prst="rect">
            <a:avLst/>
          </a:prstGeom>
        </p:spPr>
      </p:pic>
      <p:pic>
        <p:nvPicPr>
          <p:cNvPr id="24" name="Grafik 23" descr="Steckdose.png"/>
          <p:cNvPicPr>
            <a:picLocks noChangeAspect="1"/>
          </p:cNvPicPr>
          <p:nvPr/>
        </p:nvPicPr>
        <p:blipFill>
          <a:blip r:embed="rId10" cstate="print"/>
          <a:stretch>
            <a:fillRect/>
          </a:stretch>
        </p:blipFill>
        <p:spPr>
          <a:xfrm>
            <a:off x="8140284" y="1732758"/>
            <a:ext cx="445488" cy="445488"/>
          </a:xfrm>
          <a:prstGeom prst="rect">
            <a:avLst/>
          </a:prstGeom>
        </p:spPr>
      </p:pic>
      <p:sp>
        <p:nvSpPr>
          <p:cNvPr id="25" name="Fußzeilenplatzhalter 7"/>
          <p:cNvSpPr txBox="1">
            <a:spLocks/>
          </p:cNvSpPr>
          <p:nvPr/>
        </p:nvSpPr>
        <p:spPr bwMode="auto">
          <a:xfrm>
            <a:off x="3840845" y="1653841"/>
            <a:ext cx="2769985" cy="672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Série:</a:t>
            </a:r>
          </a:p>
          <a:p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âble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de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harge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onnexion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réseau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</a:t>
            </a:r>
          </a:p>
          <a:p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2,3 kW </a:t>
            </a:r>
          </a:p>
          <a:p>
            <a:r>
              <a:rPr lang="pt-BR" sz="1600" baseline="30000" dirty="0">
                <a:solidFill>
                  <a:srgbClr val="080808"/>
                </a:solidFill>
                <a:latin typeface="Calibri"/>
              </a:rPr>
              <a:t>100% SOC: </a:t>
            </a:r>
            <a:r>
              <a:rPr lang="pt-BR" sz="1600" baseline="30000" dirty="0" err="1">
                <a:solidFill>
                  <a:srgbClr val="080808"/>
                </a:solidFill>
                <a:latin typeface="Calibri"/>
              </a:rPr>
              <a:t>env</a:t>
            </a:r>
            <a:r>
              <a:rPr lang="pt-BR" sz="1600" baseline="30000" dirty="0">
                <a:solidFill>
                  <a:srgbClr val="080808"/>
                </a:solidFill>
                <a:latin typeface="Calibri"/>
              </a:rPr>
              <a:t>. 13 h</a:t>
            </a:r>
            <a:endParaRPr lang="de-DE" sz="1600" dirty="0">
              <a:solidFill>
                <a:srgbClr val="080808"/>
              </a:solidFill>
              <a:latin typeface="Calibri"/>
            </a:endParaRPr>
          </a:p>
        </p:txBody>
      </p:sp>
      <p:sp>
        <p:nvSpPr>
          <p:cNvPr id="26" name="Fußzeilenplatzhalter 7"/>
          <p:cNvSpPr txBox="1">
            <a:spLocks/>
          </p:cNvSpPr>
          <p:nvPr/>
        </p:nvSpPr>
        <p:spPr bwMode="auto">
          <a:xfrm>
            <a:off x="3829283" y="2451748"/>
            <a:ext cx="3889571" cy="672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Option: 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Wallbox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3,6 kW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80% SOC: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env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. 6 h, 100% SOC: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env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. 8 h</a:t>
            </a:r>
            <a:endParaRPr lang="de-DE" sz="1600" dirty="0">
              <a:solidFill>
                <a:srgbClr val="080808"/>
              </a:solidFill>
              <a:latin typeface="Calibri"/>
            </a:endParaRPr>
          </a:p>
        </p:txBody>
      </p:sp>
      <p:sp>
        <p:nvSpPr>
          <p:cNvPr id="27" name="Fußzeilenplatzhalter 7"/>
          <p:cNvSpPr txBox="1">
            <a:spLocks/>
          </p:cNvSpPr>
          <p:nvPr/>
        </p:nvSpPr>
        <p:spPr bwMode="auto">
          <a:xfrm>
            <a:off x="2545719" y="1787435"/>
            <a:ext cx="1169344" cy="3361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500" baseline="30000" dirty="0">
                <a:solidFill>
                  <a:srgbClr val="080808"/>
                </a:solidFill>
                <a:latin typeface="Calibri"/>
              </a:rPr>
              <a:t>Charge AC</a:t>
            </a:r>
          </a:p>
        </p:txBody>
      </p:sp>
      <p:sp>
        <p:nvSpPr>
          <p:cNvPr id="28" name="Fußzeilenplatzhalter 7"/>
          <p:cNvSpPr txBox="1">
            <a:spLocks/>
          </p:cNvSpPr>
          <p:nvPr/>
        </p:nvSpPr>
        <p:spPr bwMode="auto">
          <a:xfrm>
            <a:off x="3829283" y="3153291"/>
            <a:ext cx="2445912" cy="672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Série: 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âble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de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harge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onnexion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réseau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2,3 kW</a:t>
            </a:r>
          </a:p>
          <a:p>
            <a:r>
              <a:rPr lang="pt-BR" sz="1600" baseline="30000" dirty="0">
                <a:solidFill>
                  <a:srgbClr val="080808"/>
                </a:solidFill>
                <a:latin typeface="Calibri"/>
              </a:rPr>
              <a:t>100% SOC: </a:t>
            </a:r>
            <a:r>
              <a:rPr lang="pt-BR" sz="1600" baseline="30000" dirty="0" err="1">
                <a:solidFill>
                  <a:srgbClr val="080808"/>
                </a:solidFill>
                <a:latin typeface="Calibri"/>
              </a:rPr>
              <a:t>env</a:t>
            </a:r>
            <a:r>
              <a:rPr lang="pt-BR" sz="1600" baseline="30000" dirty="0">
                <a:solidFill>
                  <a:srgbClr val="080808"/>
                </a:solidFill>
                <a:latin typeface="Calibri"/>
              </a:rPr>
              <a:t>. 9 h</a:t>
            </a:r>
            <a:endParaRPr lang="de-DE" sz="1600" dirty="0">
              <a:solidFill>
                <a:srgbClr val="080808"/>
              </a:solidFill>
              <a:latin typeface="Calibri"/>
            </a:endParaRPr>
          </a:p>
        </p:txBody>
      </p:sp>
      <p:sp>
        <p:nvSpPr>
          <p:cNvPr id="29" name="Fußzeilenplatzhalter 7"/>
          <p:cNvSpPr txBox="1">
            <a:spLocks/>
          </p:cNvSpPr>
          <p:nvPr/>
        </p:nvSpPr>
        <p:spPr bwMode="auto">
          <a:xfrm>
            <a:off x="3788683" y="3871134"/>
            <a:ext cx="3889571" cy="6722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Option : 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âble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de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harge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Mennekes 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3,6 kW</a:t>
            </a:r>
          </a:p>
          <a:p>
            <a:r>
              <a:rPr lang="pt-BR" sz="1600" baseline="30000" dirty="0">
                <a:solidFill>
                  <a:srgbClr val="080808"/>
                </a:solidFill>
                <a:latin typeface="Calibri"/>
              </a:rPr>
              <a:t>80% SOC: </a:t>
            </a:r>
            <a:r>
              <a:rPr lang="pt-BR" sz="1600" baseline="30000" dirty="0" err="1">
                <a:solidFill>
                  <a:srgbClr val="080808"/>
                </a:solidFill>
                <a:latin typeface="Calibri"/>
              </a:rPr>
              <a:t>env</a:t>
            </a:r>
            <a:r>
              <a:rPr lang="pt-BR" sz="1600" baseline="30000" dirty="0">
                <a:solidFill>
                  <a:srgbClr val="080808"/>
                </a:solidFill>
                <a:latin typeface="Calibri"/>
              </a:rPr>
              <a:t>. 6 h, 100% SOC: env.8 h</a:t>
            </a:r>
            <a:endParaRPr lang="de-DE" sz="1600" dirty="0">
              <a:solidFill>
                <a:srgbClr val="080808"/>
              </a:solidFill>
              <a:latin typeface="Calibri"/>
            </a:endParaRPr>
          </a:p>
        </p:txBody>
      </p:sp>
      <p:sp>
        <p:nvSpPr>
          <p:cNvPr id="30" name="Fußzeilenplatzhalter 7"/>
          <p:cNvSpPr txBox="1">
            <a:spLocks/>
          </p:cNvSpPr>
          <p:nvPr/>
        </p:nvSpPr>
        <p:spPr bwMode="auto">
          <a:xfrm>
            <a:off x="3771587" y="4629829"/>
            <a:ext cx="3889571" cy="1208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Option: 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Charge CCS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Combo Typ II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jusqu‘à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40 kW (80% en 0,5 h) </a:t>
            </a:r>
          </a:p>
          <a:p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• Contact de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harge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CCS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présent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dans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le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véhicule</a:t>
            </a:r>
            <a:br>
              <a:rPr lang="de-DE" sz="1600" baseline="30000" dirty="0">
                <a:solidFill>
                  <a:srgbClr val="080808"/>
                </a:solidFill>
                <a:latin typeface="Calibri"/>
              </a:rPr>
            </a:b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•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âble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de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harge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présent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aux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bornes</a:t>
            </a:r>
            <a:r>
              <a:rPr lang="de-DE" sz="1600" baseline="30000" dirty="0">
                <a:solidFill>
                  <a:srgbClr val="080808"/>
                </a:solidFill>
                <a:latin typeface="Calibri"/>
              </a:rPr>
              <a:t> de </a:t>
            </a:r>
            <a:r>
              <a:rPr lang="de-DE" sz="1600" baseline="30000" dirty="0" err="1">
                <a:solidFill>
                  <a:srgbClr val="080808"/>
                </a:solidFill>
                <a:latin typeface="Calibri"/>
              </a:rPr>
              <a:t>charge</a:t>
            </a:r>
            <a:endParaRPr lang="de-DE" sz="1500" dirty="0">
              <a:solidFill>
                <a:srgbClr val="080808"/>
              </a:solidFill>
              <a:latin typeface="Calibri"/>
            </a:endParaRPr>
          </a:p>
        </p:txBody>
      </p:sp>
      <p:sp>
        <p:nvSpPr>
          <p:cNvPr id="31" name="Fußzeilenplatzhalter 7"/>
          <p:cNvSpPr txBox="1">
            <a:spLocks/>
          </p:cNvSpPr>
          <p:nvPr/>
        </p:nvSpPr>
        <p:spPr bwMode="auto">
          <a:xfrm>
            <a:off x="2563192" y="3362030"/>
            <a:ext cx="1169344" cy="18991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sz="1500" baseline="30000" dirty="0">
                <a:solidFill>
                  <a:srgbClr val="080808"/>
                </a:solidFill>
                <a:latin typeface="Calibri"/>
              </a:rPr>
              <a:t>Charge AC</a:t>
            </a:r>
          </a:p>
          <a:p>
            <a:pPr algn="ctr"/>
            <a:endParaRPr lang="de-DE" sz="1500" baseline="30000" dirty="0">
              <a:solidFill>
                <a:srgbClr val="080808"/>
              </a:solidFill>
              <a:latin typeface="Calibri"/>
            </a:endParaRPr>
          </a:p>
          <a:p>
            <a:pPr algn="ctr"/>
            <a:endParaRPr lang="de-DE" sz="1500" dirty="0">
              <a:solidFill>
                <a:srgbClr val="080808"/>
              </a:solidFill>
              <a:latin typeface="Calibri"/>
            </a:endParaRPr>
          </a:p>
        </p:txBody>
      </p:sp>
      <p:sp>
        <p:nvSpPr>
          <p:cNvPr id="32" name="Fußzeilenplatzhalter 7"/>
          <p:cNvSpPr txBox="1">
            <a:spLocks/>
          </p:cNvSpPr>
          <p:nvPr/>
        </p:nvSpPr>
        <p:spPr bwMode="auto">
          <a:xfrm>
            <a:off x="2556642" y="4579628"/>
            <a:ext cx="1169344" cy="36101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endParaRPr lang="de-DE" sz="1500" baseline="30000" dirty="0">
              <a:solidFill>
                <a:srgbClr val="080808"/>
              </a:solidFill>
              <a:latin typeface="Calibri"/>
            </a:endParaRPr>
          </a:p>
          <a:p>
            <a:pPr algn="ctr"/>
            <a:r>
              <a:rPr lang="de-DE" sz="1500" baseline="30000" dirty="0">
                <a:solidFill>
                  <a:srgbClr val="080808"/>
                </a:solidFill>
                <a:latin typeface="Calibri"/>
              </a:rPr>
              <a:t>Charge CCS</a:t>
            </a:r>
          </a:p>
          <a:p>
            <a:pPr algn="ctr"/>
            <a:endParaRPr lang="de-DE" sz="1500" baseline="30000" dirty="0">
              <a:solidFill>
                <a:srgbClr val="080808"/>
              </a:solidFill>
              <a:latin typeface="Calibri"/>
            </a:endParaRPr>
          </a:p>
          <a:p>
            <a:pPr algn="ctr"/>
            <a:endParaRPr lang="de-DE" sz="1500" baseline="30000" dirty="0">
              <a:solidFill>
                <a:srgbClr val="080808"/>
              </a:solidFill>
              <a:latin typeface="Calibri"/>
            </a:endParaRPr>
          </a:p>
          <a:p>
            <a:pPr algn="ctr"/>
            <a:endParaRPr lang="de-DE" sz="1500" baseline="30000" dirty="0">
              <a:solidFill>
                <a:srgbClr val="080808"/>
              </a:solidFill>
              <a:latin typeface="Calibri"/>
            </a:endParaRPr>
          </a:p>
          <a:p>
            <a:pPr algn="ctr"/>
            <a:endParaRPr lang="de-DE" sz="1500" baseline="30000" dirty="0">
              <a:solidFill>
                <a:srgbClr val="080808"/>
              </a:solidFill>
              <a:latin typeface="Calibri"/>
            </a:endParaRPr>
          </a:p>
        </p:txBody>
      </p:sp>
      <p:sp>
        <p:nvSpPr>
          <p:cNvPr id="33" name="Fußzeilenplatzhalter 7"/>
          <p:cNvSpPr txBox="1">
            <a:spLocks/>
          </p:cNvSpPr>
          <p:nvPr/>
        </p:nvSpPr>
        <p:spPr bwMode="auto">
          <a:xfrm rot="16200000">
            <a:off x="833943" y="4274279"/>
            <a:ext cx="2766692" cy="226824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dirty="0">
                <a:solidFill>
                  <a:prstClr val="white"/>
                </a:solidFill>
                <a:latin typeface="Calibri"/>
              </a:rPr>
              <a:t> </a:t>
            </a:r>
            <a:r>
              <a:rPr lang="de-DE" baseline="30000" dirty="0">
                <a:solidFill>
                  <a:prstClr val="white"/>
                </a:solidFill>
                <a:latin typeface="Calibri"/>
              </a:rPr>
              <a:t> </a:t>
            </a:r>
            <a:r>
              <a:rPr lang="de-DE" baseline="30000" dirty="0" err="1">
                <a:solidFill>
                  <a:prstClr val="white"/>
                </a:solidFill>
                <a:latin typeface="Calibri"/>
              </a:rPr>
              <a:t>Recharger</a:t>
            </a:r>
            <a:r>
              <a:rPr lang="de-DE" baseline="30000" dirty="0">
                <a:solidFill>
                  <a:prstClr val="white"/>
                </a:solidFill>
                <a:latin typeface="Calibri"/>
              </a:rPr>
              <a:t> en route</a:t>
            </a:r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4" name="Fußzeilenplatzhalter 7"/>
          <p:cNvSpPr txBox="1">
            <a:spLocks/>
          </p:cNvSpPr>
          <p:nvPr/>
        </p:nvSpPr>
        <p:spPr bwMode="auto">
          <a:xfrm rot="16200000">
            <a:off x="1513254" y="2179692"/>
            <a:ext cx="1392746" cy="226825"/>
          </a:xfrm>
          <a:prstGeom prst="rect">
            <a:avLst/>
          </a:prstGeom>
          <a:solidFill>
            <a:srgbClr val="003399"/>
          </a:solidFill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baseline="30000" dirty="0" err="1">
                <a:solidFill>
                  <a:prstClr val="white"/>
                </a:solidFill>
                <a:latin typeface="Calibri"/>
              </a:rPr>
              <a:t>Recharger</a:t>
            </a:r>
            <a:r>
              <a:rPr lang="de-DE" baseline="30000" dirty="0">
                <a:solidFill>
                  <a:prstClr val="white"/>
                </a:solidFill>
                <a:latin typeface="Calibri"/>
              </a:rPr>
              <a:t> </a:t>
            </a:r>
            <a:r>
              <a:rPr lang="de-DE" baseline="30000" dirty="0" err="1">
                <a:solidFill>
                  <a:prstClr val="white"/>
                </a:solidFill>
                <a:latin typeface="Calibri"/>
              </a:rPr>
              <a:t>chez</a:t>
            </a:r>
            <a:r>
              <a:rPr lang="de-DE" baseline="30000" dirty="0">
                <a:solidFill>
                  <a:prstClr val="white"/>
                </a:solidFill>
                <a:latin typeface="Calibri"/>
              </a:rPr>
              <a:t> </a:t>
            </a:r>
            <a:r>
              <a:rPr lang="de-DE" baseline="30000" dirty="0" err="1">
                <a:solidFill>
                  <a:prstClr val="white"/>
                </a:solidFill>
                <a:latin typeface="Calibri"/>
              </a:rPr>
              <a:t>soi</a:t>
            </a:r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5" name="Fußzeilenplatzhalter 7"/>
          <p:cNvSpPr txBox="1">
            <a:spLocks/>
          </p:cNvSpPr>
          <p:nvPr/>
        </p:nvSpPr>
        <p:spPr bwMode="auto">
          <a:xfrm rot="16200000">
            <a:off x="1655723" y="3722365"/>
            <a:ext cx="1586277" cy="2287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baseline="30000" dirty="0">
                <a:solidFill>
                  <a:prstClr val="white"/>
                </a:solidFill>
                <a:latin typeface="Calibri"/>
              </a:rPr>
              <a:t>Courant </a:t>
            </a:r>
            <a:r>
              <a:rPr lang="de-DE" baseline="30000" dirty="0" err="1">
                <a:solidFill>
                  <a:prstClr val="white"/>
                </a:solidFill>
                <a:latin typeface="Calibri"/>
              </a:rPr>
              <a:t>alternatif</a:t>
            </a:r>
            <a:r>
              <a:rPr lang="de-DE" baseline="30000" dirty="0">
                <a:solidFill>
                  <a:prstClr val="white"/>
                </a:solidFill>
                <a:latin typeface="Calibri"/>
              </a:rPr>
              <a:t> (AC)</a:t>
            </a:r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6" name="Fußzeilenplatzhalter 7"/>
          <p:cNvSpPr txBox="1">
            <a:spLocks/>
          </p:cNvSpPr>
          <p:nvPr/>
        </p:nvSpPr>
        <p:spPr bwMode="auto">
          <a:xfrm rot="16200000">
            <a:off x="1735937" y="2189215"/>
            <a:ext cx="1392745" cy="226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baseline="30000" dirty="0">
                <a:solidFill>
                  <a:prstClr val="white"/>
                </a:solidFill>
                <a:latin typeface="Calibri"/>
              </a:rPr>
              <a:t>Courant </a:t>
            </a:r>
            <a:r>
              <a:rPr lang="de-DE" baseline="30000" dirty="0" err="1">
                <a:solidFill>
                  <a:prstClr val="white"/>
                </a:solidFill>
                <a:latin typeface="Calibri"/>
              </a:rPr>
              <a:t>alternatif</a:t>
            </a:r>
            <a:r>
              <a:rPr lang="de-DE" baseline="30000" dirty="0">
                <a:solidFill>
                  <a:prstClr val="white"/>
                </a:solidFill>
                <a:latin typeface="Calibri"/>
              </a:rPr>
              <a:t> (AC)</a:t>
            </a:r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7" name="Fußzeilenplatzhalter 7"/>
          <p:cNvSpPr txBox="1">
            <a:spLocks/>
          </p:cNvSpPr>
          <p:nvPr/>
        </p:nvSpPr>
        <p:spPr bwMode="auto">
          <a:xfrm rot="16200000">
            <a:off x="1749173" y="5128426"/>
            <a:ext cx="1388173" cy="2268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algn="ctr"/>
            <a:r>
              <a:rPr lang="de-DE" baseline="30000" dirty="0">
                <a:solidFill>
                  <a:prstClr val="white"/>
                </a:solidFill>
                <a:latin typeface="Calibri"/>
              </a:rPr>
              <a:t>Tension </a:t>
            </a:r>
            <a:r>
              <a:rPr lang="de-DE" baseline="30000" dirty="0" err="1">
                <a:solidFill>
                  <a:prstClr val="white"/>
                </a:solidFill>
                <a:latin typeface="Calibri"/>
              </a:rPr>
              <a:t>continue</a:t>
            </a:r>
            <a:r>
              <a:rPr lang="de-DE" baseline="30000" dirty="0">
                <a:solidFill>
                  <a:prstClr val="white"/>
                </a:solidFill>
                <a:latin typeface="Calibri"/>
              </a:rPr>
              <a:t> (DC)</a:t>
            </a:r>
            <a:endParaRPr lang="de-DE" dirty="0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38" name="Picture 3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29678" y="3208261"/>
            <a:ext cx="266700" cy="1028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Grafik 38" descr="kabel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610831" y="1647589"/>
            <a:ext cx="1032415" cy="615827"/>
          </a:xfrm>
          <a:prstGeom prst="rect">
            <a:avLst/>
          </a:prstGeom>
        </p:spPr>
      </p:pic>
      <p:pic>
        <p:nvPicPr>
          <p:cNvPr id="40" name="Grafik 39" descr="kabel.png"/>
          <p:cNvPicPr>
            <a:picLocks noChangeAspect="1"/>
          </p:cNvPicPr>
          <p:nvPr/>
        </p:nvPicPr>
        <p:blipFill>
          <a:blip r:embed="rId12" cstate="print"/>
          <a:stretch>
            <a:fillRect/>
          </a:stretch>
        </p:blipFill>
        <p:spPr>
          <a:xfrm>
            <a:off x="6610832" y="3036557"/>
            <a:ext cx="1032415" cy="615827"/>
          </a:xfrm>
          <a:prstGeom prst="rect">
            <a:avLst/>
          </a:prstGeom>
        </p:spPr>
      </p:pic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171" y="2331656"/>
            <a:ext cx="1073093" cy="7980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1113" y="3699265"/>
            <a:ext cx="1073150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052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7167" y="4962975"/>
            <a:ext cx="1073150" cy="7985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396355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Système</a:t>
            </a:r>
            <a:r>
              <a:rPr lang="de-DE" dirty="0"/>
              <a:t> haute </a:t>
            </a:r>
            <a:r>
              <a:rPr lang="de-DE" dirty="0" err="1"/>
              <a:t>tension</a:t>
            </a: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 dirty="0">
                <a:solidFill>
                  <a:prstClr val="black">
                    <a:tint val="75000"/>
                  </a:prstClr>
                </a:solidFill>
                <a:latin typeface="Calibri"/>
              </a:rPr>
              <a:t>04.2014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>
                <a:solidFill>
                  <a:prstClr val="black">
                    <a:tint val="75000"/>
                  </a:prstClr>
                </a:solidFill>
                <a:latin typeface="Calibri"/>
              </a:rPr>
              <a:t>• VSQ/TT •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88CA1DD-5EE9-4A5C-9460-BBFB000F24F6}" type="slidenum">
              <a:rPr lang="de-DE">
                <a:solidFill>
                  <a:prstClr val="black">
                    <a:tint val="75000"/>
                  </a:prstClr>
                </a:solidFill>
                <a:latin typeface="Calibri"/>
              </a:rPr>
              <a:pPr/>
              <a:t>16</a:t>
            </a:fld>
            <a:endParaRPr lang="de-DE">
              <a:solidFill>
                <a:prstClr val="black">
                  <a:tint val="75000"/>
                </a:prstClr>
              </a:solidFill>
              <a:latin typeface="Calibri"/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1740000" y="982801"/>
            <a:ext cx="8820000" cy="430887"/>
          </a:xfrm>
        </p:spPr>
        <p:txBody>
          <a:bodyPr/>
          <a:lstStyle/>
          <a:p>
            <a:r>
              <a:rPr lang="de-DE" dirty="0"/>
              <a:t>Prise de </a:t>
            </a:r>
            <a:r>
              <a:rPr lang="de-DE" dirty="0" err="1"/>
              <a:t>charge</a:t>
            </a:r>
            <a:endParaRPr lang="de-DE" dirty="0"/>
          </a:p>
        </p:txBody>
      </p:sp>
      <p:sp>
        <p:nvSpPr>
          <p:cNvPr id="8" name="Textplatzhalter 2"/>
          <p:cNvSpPr txBox="1">
            <a:spLocks/>
          </p:cNvSpPr>
          <p:nvPr/>
        </p:nvSpPr>
        <p:spPr bwMode="auto">
          <a:xfrm>
            <a:off x="6442696" y="1413688"/>
            <a:ext cx="3840162" cy="71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-265113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marR="0" indent="-265113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4225" marR="0" indent="-249238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7750" marR="0" indent="-261938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r>
              <a:rPr lang="de-DE" sz="1800" dirty="0">
                <a:solidFill>
                  <a:prstClr val="black"/>
                </a:solidFill>
                <a:latin typeface="Calibri"/>
              </a:rPr>
              <a:t>Prise de </a:t>
            </a:r>
            <a:r>
              <a:rPr lang="de-DE" sz="1800" dirty="0" err="1">
                <a:solidFill>
                  <a:prstClr val="black"/>
                </a:solidFill>
                <a:latin typeface="Calibri"/>
              </a:rPr>
              <a:t>charge</a:t>
            </a:r>
            <a:r>
              <a:rPr lang="de-DE" sz="1800" dirty="0">
                <a:solidFill>
                  <a:prstClr val="black"/>
                </a:solidFill>
                <a:latin typeface="Calibri"/>
              </a:rPr>
              <a:t> CCS</a:t>
            </a:r>
          </a:p>
          <a:p>
            <a:pPr algn="ctr">
              <a:defRPr/>
            </a:pPr>
            <a:r>
              <a:rPr lang="de-DE" sz="1800" dirty="0">
                <a:solidFill>
                  <a:prstClr val="black"/>
                </a:solidFill>
                <a:latin typeface="Calibri"/>
              </a:rPr>
              <a:t>(3,6 kW AC, 40 kW DC)</a:t>
            </a:r>
          </a:p>
        </p:txBody>
      </p:sp>
      <p:sp>
        <p:nvSpPr>
          <p:cNvPr id="10" name="Textplatzhalter 1"/>
          <p:cNvSpPr txBox="1">
            <a:spLocks/>
          </p:cNvSpPr>
          <p:nvPr/>
        </p:nvSpPr>
        <p:spPr bwMode="auto">
          <a:xfrm>
            <a:off x="1724212" y="1429115"/>
            <a:ext cx="4038600" cy="714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0" marR="0" indent="0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marR="0" indent="-265113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tabLst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33400" marR="0" indent="-265113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tabLst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84225" marR="0" indent="-249238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47750" marR="0" indent="-261938" algn="l" defTabSz="914400" rtl="0" eaLnBrk="1" fontAlgn="base" latinLnBrk="0" hangingPunct="1">
              <a:lnSpc>
                <a:spcPct val="103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 typeface="VW Headline OT-Book" pitchFamily="34" charset="0"/>
              <a:buChar char="–"/>
              <a:tabLst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  <a:defRPr/>
            </a:pPr>
            <a:r>
              <a:rPr lang="de-DE" sz="1800" dirty="0">
                <a:solidFill>
                  <a:prstClr val="black"/>
                </a:solidFill>
                <a:latin typeface="Calibri"/>
              </a:rPr>
              <a:t>Prise de </a:t>
            </a:r>
            <a:r>
              <a:rPr lang="de-DE" sz="1800" dirty="0" err="1">
                <a:solidFill>
                  <a:prstClr val="black"/>
                </a:solidFill>
                <a:latin typeface="Calibri"/>
              </a:rPr>
              <a:t>charge</a:t>
            </a:r>
            <a:r>
              <a:rPr lang="de-DE" sz="1800" dirty="0">
                <a:solidFill>
                  <a:prstClr val="black"/>
                </a:solidFill>
                <a:latin typeface="Calibri"/>
              </a:rPr>
              <a:t> - courant </a:t>
            </a:r>
            <a:r>
              <a:rPr lang="de-DE" sz="1800" dirty="0" err="1">
                <a:solidFill>
                  <a:prstClr val="black"/>
                </a:solidFill>
                <a:latin typeface="Calibri"/>
              </a:rPr>
              <a:t>alternatif</a:t>
            </a:r>
            <a:endParaRPr lang="de-DE" sz="1800" dirty="0">
              <a:solidFill>
                <a:prstClr val="black"/>
              </a:solidFill>
              <a:latin typeface="Calibri"/>
            </a:endParaRPr>
          </a:p>
          <a:p>
            <a:pPr algn="ctr">
              <a:lnSpc>
                <a:spcPct val="100000"/>
              </a:lnSpc>
              <a:defRPr/>
            </a:pPr>
            <a:r>
              <a:rPr lang="de-DE" sz="1800" dirty="0">
                <a:solidFill>
                  <a:prstClr val="black"/>
                </a:solidFill>
                <a:latin typeface="Calibri"/>
              </a:rPr>
              <a:t>(3,6 kW AC)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3967490" y="5643920"/>
            <a:ext cx="2581275" cy="3133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dirty="0" err="1">
                <a:solidFill>
                  <a:prstClr val="black"/>
                </a:solidFill>
                <a:latin typeface="Calibri"/>
              </a:rPr>
              <a:t>Interrupteur</a:t>
            </a:r>
            <a:r>
              <a:rPr lang="de-DE" dirty="0">
                <a:solidFill>
                  <a:prstClr val="black"/>
                </a:solidFill>
                <a:latin typeface="Calibri"/>
              </a:rPr>
              <a:t> „</a:t>
            </a:r>
            <a:r>
              <a:rPr lang="de-DE" dirty="0" err="1">
                <a:solidFill>
                  <a:prstClr val="black"/>
                </a:solidFill>
                <a:latin typeface="Calibri"/>
              </a:rPr>
              <a:t>charge</a:t>
            </a:r>
            <a:r>
              <a:rPr lang="de-DE" dirty="0">
                <a:solidFill>
                  <a:prstClr val="black"/>
                </a:solidFill>
                <a:latin typeface="Calibri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Calibri"/>
              </a:rPr>
              <a:t>directe</a:t>
            </a:r>
            <a:r>
              <a:rPr lang="de-DE" dirty="0">
                <a:solidFill>
                  <a:prstClr val="black"/>
                </a:solidFill>
                <a:latin typeface="Calibri"/>
              </a:rPr>
              <a:t>“ </a:t>
            </a:r>
          </a:p>
        </p:txBody>
      </p:sp>
      <p:pic>
        <p:nvPicPr>
          <p:cNvPr id="12" name="Grafik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2696" y="2143489"/>
            <a:ext cx="3854016" cy="3310444"/>
          </a:xfrm>
          <a:prstGeom prst="rect">
            <a:avLst/>
          </a:prstGeom>
        </p:spPr>
      </p:pic>
      <p:pic>
        <p:nvPicPr>
          <p:cNvPr id="13" name="Grafik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946"/>
          <a:stretch/>
        </p:blipFill>
        <p:spPr>
          <a:xfrm>
            <a:off x="1724213" y="2143489"/>
            <a:ext cx="4376877" cy="3310444"/>
          </a:xfrm>
          <a:prstGeom prst="rect">
            <a:avLst/>
          </a:prstGeom>
        </p:spPr>
      </p:pic>
      <p:sp>
        <p:nvSpPr>
          <p:cNvPr id="14" name="Line 4"/>
          <p:cNvSpPr>
            <a:spLocks noChangeShapeType="1"/>
          </p:cNvSpPr>
          <p:nvPr/>
        </p:nvSpPr>
        <p:spPr bwMode="auto">
          <a:xfrm flipH="1" flipV="1">
            <a:off x="3181349" y="4314825"/>
            <a:ext cx="1133476" cy="1329093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609600" y="5661530"/>
            <a:ext cx="3210139" cy="3133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de-DE" dirty="0" err="1">
                <a:solidFill>
                  <a:prstClr val="black"/>
                </a:solidFill>
                <a:latin typeface="Calibri"/>
              </a:rPr>
              <a:t>Interrupteur</a:t>
            </a:r>
            <a:r>
              <a:rPr lang="de-DE" dirty="0">
                <a:solidFill>
                  <a:prstClr val="black"/>
                </a:solidFill>
                <a:latin typeface="Calibri"/>
              </a:rPr>
              <a:t> </a:t>
            </a:r>
            <a:r>
              <a:rPr lang="de-DE" dirty="0" err="1">
                <a:solidFill>
                  <a:prstClr val="black"/>
                </a:solidFill>
                <a:latin typeface="Calibri"/>
              </a:rPr>
              <a:t>charge</a:t>
            </a:r>
            <a:r>
              <a:rPr lang="de-DE" dirty="0">
                <a:solidFill>
                  <a:prstClr val="black"/>
                </a:solidFill>
                <a:latin typeface="Calibri"/>
              </a:rPr>
              <a:t> via </a:t>
            </a:r>
            <a:r>
              <a:rPr lang="de-DE" dirty="0" err="1">
                <a:solidFill>
                  <a:prstClr val="black"/>
                </a:solidFill>
                <a:latin typeface="Calibri"/>
              </a:rPr>
              <a:t>minuteur</a:t>
            </a: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6" name="Line 4"/>
          <p:cNvSpPr>
            <a:spLocks noChangeShapeType="1"/>
          </p:cNvSpPr>
          <p:nvPr/>
        </p:nvSpPr>
        <p:spPr bwMode="auto">
          <a:xfrm flipH="1" flipV="1">
            <a:off x="3105151" y="4543424"/>
            <a:ext cx="76199" cy="1100494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7682240" y="5639652"/>
            <a:ext cx="2066951" cy="3133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de-DE" dirty="0">
                <a:solidFill>
                  <a:prstClr val="black"/>
                </a:solidFill>
                <a:latin typeface="Calibri"/>
              </a:rPr>
              <a:t>LED </a:t>
            </a:r>
            <a:r>
              <a:rPr lang="de-DE" dirty="0" err="1">
                <a:solidFill>
                  <a:prstClr val="black"/>
                </a:solidFill>
                <a:latin typeface="Calibri"/>
              </a:rPr>
              <a:t>situation</a:t>
            </a:r>
            <a:r>
              <a:rPr lang="de-DE" dirty="0">
                <a:solidFill>
                  <a:prstClr val="black"/>
                </a:solidFill>
                <a:latin typeface="Calibri"/>
              </a:rPr>
              <a:t> de </a:t>
            </a:r>
            <a:r>
              <a:rPr lang="de-DE" dirty="0" err="1">
                <a:solidFill>
                  <a:prstClr val="black"/>
                </a:solidFill>
                <a:latin typeface="Calibri"/>
              </a:rPr>
              <a:t>charge</a:t>
            </a:r>
            <a:endParaRPr lang="de-DE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18" name="Line 4"/>
          <p:cNvSpPr>
            <a:spLocks noChangeShapeType="1"/>
          </p:cNvSpPr>
          <p:nvPr/>
        </p:nvSpPr>
        <p:spPr bwMode="auto">
          <a:xfrm flipH="1" flipV="1">
            <a:off x="7691764" y="3990974"/>
            <a:ext cx="1133476" cy="1562101"/>
          </a:xfrm>
          <a:prstGeom prst="line">
            <a:avLst/>
          </a:prstGeom>
          <a:noFill/>
          <a:ln w="19050">
            <a:solidFill>
              <a:schemeClr val="tx1"/>
            </a:solidFill>
            <a:round/>
            <a:headEnd/>
            <a:tailEnd/>
          </a:ln>
          <a:effectLst>
            <a:outerShdw dist="19050" dir="5400000" algn="ctr" rotWithShape="0">
              <a:schemeClr val="bg1"/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endParaRPr lang="de-DE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88433565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 err="1"/>
              <a:t>Charging</a:t>
            </a:r>
            <a:r>
              <a:rPr lang="fr-BE" sz="1899" dirty="0"/>
              <a:t>: Technologies</a:t>
            </a:r>
            <a:endParaRPr lang="nl-BE" sz="1899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7182" y="1172855"/>
            <a:ext cx="7721427" cy="51433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99881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0454" y="196343"/>
            <a:ext cx="9908075" cy="509518"/>
          </a:xfrm>
        </p:spPr>
        <p:txBody>
          <a:bodyPr/>
          <a:lstStyle/>
          <a:p>
            <a:r>
              <a:rPr lang="fr-BE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Situation actuelle charge Infra - 3 possibilités</a:t>
            </a:r>
            <a:endParaRPr lang="nl-NL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r>
              <a:rPr lang="fr-BE" dirty="0"/>
              <a:t>Fiche conventionnelle type </a:t>
            </a:r>
            <a:r>
              <a:rPr lang="fr-BE" dirty="0" err="1"/>
              <a:t>Schuko</a:t>
            </a:r>
            <a:r>
              <a:rPr lang="fr-BE" dirty="0"/>
              <a:t> limité à 10A</a:t>
            </a:r>
          </a:p>
          <a:p>
            <a:pPr marL="0" indent="0">
              <a:buNone/>
            </a:pPr>
            <a:r>
              <a:rPr lang="fr-BE" dirty="0"/>
              <a:t>(temps de charge Q7 e-</a:t>
            </a:r>
            <a:r>
              <a:rPr lang="fr-BE" dirty="0" err="1"/>
              <a:t>tron</a:t>
            </a:r>
            <a:r>
              <a:rPr lang="fr-BE" dirty="0"/>
              <a:t> 7h30’ et e-Golf 16h45’)</a:t>
            </a:r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r>
              <a:rPr lang="fr-BE" dirty="0"/>
              <a:t>Monophasé industriel bleu en 16A</a:t>
            </a:r>
          </a:p>
          <a:p>
            <a:pPr marL="0" indent="0">
              <a:buNone/>
            </a:pPr>
            <a:r>
              <a:rPr lang="fr-BE" dirty="0"/>
              <a:t>(temps de charge Q7 e-</a:t>
            </a:r>
            <a:r>
              <a:rPr lang="fr-BE" dirty="0" err="1"/>
              <a:t>tron</a:t>
            </a:r>
            <a:r>
              <a:rPr lang="fr-BE" dirty="0"/>
              <a:t> 5h00’ et e-Golf 10h30’)</a:t>
            </a:r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r>
              <a:rPr lang="fr-BE" dirty="0"/>
              <a:t>Triphasé industriel + neutre (tetra) </a:t>
            </a:r>
          </a:p>
          <a:p>
            <a:pPr marL="0" indent="0">
              <a:buNone/>
            </a:pPr>
            <a:r>
              <a:rPr lang="fr-BE" dirty="0"/>
              <a:t>rouge et utilisation de 2 phases 2x16A (32A)</a:t>
            </a:r>
          </a:p>
          <a:p>
            <a:pPr marL="0" indent="0">
              <a:buNone/>
            </a:pPr>
            <a:r>
              <a:rPr lang="fr-BE" dirty="0"/>
              <a:t>(temps de charge Q7 e-</a:t>
            </a:r>
            <a:r>
              <a:rPr lang="fr-BE" dirty="0" err="1"/>
              <a:t>tron</a:t>
            </a:r>
            <a:r>
              <a:rPr lang="fr-BE" dirty="0"/>
              <a:t> 2h30’ et e-Golf  5h15’)</a:t>
            </a:r>
          </a:p>
          <a:p>
            <a:pPr marL="514350" indent="-514350">
              <a:buAutoNum type="arabicParenR"/>
            </a:pPr>
            <a:endParaRPr lang="fr-BE" dirty="0"/>
          </a:p>
          <a:p>
            <a:pPr marL="514350" indent="-514350">
              <a:buAutoNum type="arabicParenR"/>
            </a:pPr>
            <a:endParaRPr lang="fr-BE" dirty="0"/>
          </a:p>
          <a:p>
            <a:pPr marL="514350" indent="-514350">
              <a:buAutoNum type="arabicParenR"/>
            </a:pPr>
            <a:endParaRPr lang="fr-BE" dirty="0"/>
          </a:p>
          <a:p>
            <a:pPr marL="514350" indent="-514350">
              <a:buAutoNum type="arabicParenR"/>
            </a:pPr>
            <a:endParaRPr lang="nl-NL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863416" y="1583625"/>
            <a:ext cx="1418821" cy="1418821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97335" y="3151821"/>
            <a:ext cx="1366081" cy="1366081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8425" y="4314224"/>
            <a:ext cx="2143125" cy="214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417950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r>
              <a:rPr lang="fr-BE" dirty="0"/>
              <a:t>Malheureusement, certains belges disposent de triphasé sans neutre.</a:t>
            </a:r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r>
              <a:rPr lang="fr-BE" dirty="0"/>
              <a:t>Or la charge se fait entre le neutre et une phase ou deux phases.</a:t>
            </a:r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r>
              <a:rPr lang="fr-BE" dirty="0"/>
              <a:t>Sans neutre uniquement charge monophasé 10 A ou 16 A.</a:t>
            </a:r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endParaRPr lang="fr-BE" dirty="0"/>
          </a:p>
          <a:p>
            <a:pPr marL="0" indent="0">
              <a:buNone/>
            </a:pPr>
            <a:r>
              <a:rPr lang="fr-BE" dirty="0"/>
              <a:t>Le temps de charge est ainsi prolongé, ce qui mène à un clientèle mécontent.</a:t>
            </a:r>
            <a:endParaRPr lang="nl-NL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70454" y="141814"/>
            <a:ext cx="6888524" cy="708977"/>
          </a:xfrm>
        </p:spPr>
        <p:txBody>
          <a:bodyPr/>
          <a:lstStyle/>
          <a:p>
            <a:r>
              <a:rPr lang="fr-BE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Réseau électrique belge</a:t>
            </a:r>
            <a:endParaRPr lang="nl-NL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401866835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/>
              <a:t>Qui sommes-nous ?  </a:t>
            </a:r>
            <a:endParaRPr lang="nl-BE" sz="1899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9DB672F-0677-402A-AAED-27BB2F76C14E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85057" y="1113417"/>
            <a:ext cx="12191999" cy="58360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4147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544128"/>
            <a:ext cx="10962736" cy="503782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BE" dirty="0"/>
              <a:t>Oui, par le montage d’un transformateur d’isolation et l’adaptation de l’installation électrique.</a:t>
            </a:r>
          </a:p>
          <a:p>
            <a:pPr marL="0" indent="0">
              <a:buNone/>
            </a:pPr>
            <a:endParaRPr lang="fr-BE" dirty="0"/>
          </a:p>
          <a:p>
            <a:pPr>
              <a:buFontTx/>
              <a:buChar char="-"/>
            </a:pPr>
            <a:r>
              <a:rPr lang="fr-BE" dirty="0"/>
              <a:t>Renforcement compteur:          			4000 €</a:t>
            </a:r>
          </a:p>
          <a:p>
            <a:pPr>
              <a:buFontTx/>
              <a:buChar char="-"/>
            </a:pPr>
            <a:r>
              <a:rPr lang="fr-BE" dirty="0"/>
              <a:t>Différentiel 63A/300 mA: 		     		80 €</a:t>
            </a:r>
          </a:p>
          <a:p>
            <a:pPr>
              <a:buFontTx/>
              <a:buChar char="-"/>
            </a:pPr>
            <a:r>
              <a:rPr lang="fr-BE" dirty="0"/>
              <a:t>2x fusibles 63A (</a:t>
            </a:r>
            <a:r>
              <a:rPr lang="fr-BE" dirty="0" err="1"/>
              <a:t>prim</a:t>
            </a:r>
            <a:r>
              <a:rPr lang="fr-BE" dirty="0"/>
              <a:t> en second) : 			120 €</a:t>
            </a:r>
          </a:p>
          <a:p>
            <a:pPr>
              <a:buFontTx/>
              <a:buChar char="-"/>
            </a:pPr>
            <a:r>
              <a:rPr lang="fr-BE" dirty="0"/>
              <a:t>Transformateur 32A :   		                       2500 €  (16A = +- 1700 €)</a:t>
            </a:r>
          </a:p>
          <a:p>
            <a:pPr>
              <a:buFontTx/>
              <a:buChar char="-"/>
            </a:pPr>
            <a:r>
              <a:rPr lang="fr-BE" dirty="0" err="1"/>
              <a:t>WallBox</a:t>
            </a:r>
            <a:r>
              <a:rPr lang="fr-BE" dirty="0"/>
              <a:t> 32A par phase : 				1100 €</a:t>
            </a:r>
          </a:p>
          <a:p>
            <a:pPr>
              <a:buFontTx/>
              <a:buChar char="-"/>
            </a:pPr>
            <a:r>
              <a:rPr lang="fr-BE" dirty="0"/>
              <a:t>Câbles électriques et accessoires: 	            	200 €</a:t>
            </a:r>
          </a:p>
          <a:p>
            <a:pPr>
              <a:buFontTx/>
              <a:buChar char="-"/>
            </a:pPr>
            <a:r>
              <a:rPr lang="fr-BE" dirty="0"/>
              <a:t>Travail: 						600 €</a:t>
            </a:r>
          </a:p>
          <a:p>
            <a:pPr>
              <a:buFontTx/>
              <a:buChar char="-"/>
            </a:pPr>
            <a:r>
              <a:rPr lang="fr-BE" dirty="0"/>
              <a:t>Extra: 	- 	                                  	frais d’inspection</a:t>
            </a:r>
            <a:endParaRPr lang="fr-BE" sz="2800" dirty="0"/>
          </a:p>
        </p:txBody>
      </p:sp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635580" y="134539"/>
            <a:ext cx="8206271" cy="7480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l-NL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xiste</a:t>
            </a:r>
            <a:r>
              <a:rPr lang="nl-NL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-</a:t>
            </a:r>
            <a:r>
              <a:rPr lang="nl-NL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-il</a:t>
            </a:r>
            <a:r>
              <a:rPr lang="nl-NL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nl-NL" b="1" dirty="0" err="1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e</a:t>
            </a:r>
            <a:r>
              <a:rPr lang="nl-NL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solution ?</a:t>
            </a:r>
          </a:p>
        </p:txBody>
      </p:sp>
    </p:spTree>
    <p:extLst>
      <p:ext uri="{BB962C8B-B14F-4D97-AF65-F5344CB8AC3E}">
        <p14:creationId xmlns:p14="http://schemas.microsoft.com/office/powerpoint/2010/main" val="427215228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747422" y="194940"/>
            <a:ext cx="9975607" cy="627541"/>
          </a:xfrm>
        </p:spPr>
        <p:txBody>
          <a:bodyPr>
            <a:normAutofit/>
          </a:bodyPr>
          <a:lstStyle/>
          <a:p>
            <a:r>
              <a:rPr lang="fr-BE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isposition possible</a:t>
            </a:r>
            <a:endParaRPr lang="nl-NL" b="1" dirty="0">
              <a:solidFill>
                <a:schemeClr val="accent1">
                  <a:lumMod val="75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838200" y="2455333"/>
            <a:ext cx="770467" cy="253153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dirty="0"/>
          </a:p>
        </p:txBody>
      </p:sp>
      <p:sp>
        <p:nvSpPr>
          <p:cNvPr id="5" name="Rectangle 4"/>
          <p:cNvSpPr/>
          <p:nvPr/>
        </p:nvSpPr>
        <p:spPr>
          <a:xfrm>
            <a:off x="2277533" y="2455333"/>
            <a:ext cx="1473200" cy="253153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6" name="Rectangle 5"/>
          <p:cNvSpPr/>
          <p:nvPr/>
        </p:nvSpPr>
        <p:spPr>
          <a:xfrm>
            <a:off x="4513133" y="1989667"/>
            <a:ext cx="2226334" cy="2997200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7" name="Rectangle 6"/>
          <p:cNvSpPr/>
          <p:nvPr/>
        </p:nvSpPr>
        <p:spPr>
          <a:xfrm>
            <a:off x="7501867" y="3103033"/>
            <a:ext cx="1261534" cy="618067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8" name="Rectangle 7"/>
          <p:cNvSpPr/>
          <p:nvPr/>
        </p:nvSpPr>
        <p:spPr>
          <a:xfrm>
            <a:off x="9263335" y="3678255"/>
            <a:ext cx="1126067" cy="171450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9" name="TextBox 8"/>
          <p:cNvSpPr txBox="1"/>
          <p:nvPr/>
        </p:nvSpPr>
        <p:spPr>
          <a:xfrm>
            <a:off x="747422" y="3135067"/>
            <a:ext cx="99671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BE" sz="1200" dirty="0"/>
              <a:t>Compteur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2369938" y="3031235"/>
            <a:ext cx="134223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1200" dirty="0"/>
              <a:t>Courant de perte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853692" y="2710548"/>
            <a:ext cx="144704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200" dirty="0"/>
              <a:t>Transformateur</a:t>
            </a:r>
            <a:endParaRPr lang="nl-BE" sz="1200" dirty="0"/>
          </a:p>
        </p:txBody>
      </p:sp>
      <p:sp>
        <p:nvSpPr>
          <p:cNvPr id="12" name="TextBox 11"/>
          <p:cNvSpPr txBox="1"/>
          <p:nvPr/>
        </p:nvSpPr>
        <p:spPr>
          <a:xfrm>
            <a:off x="7574992" y="3112067"/>
            <a:ext cx="1115283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BE" sz="800" dirty="0" err="1"/>
              <a:t>Fusibles</a:t>
            </a:r>
            <a:endParaRPr lang="nl-BE" sz="800" dirty="0"/>
          </a:p>
        </p:txBody>
      </p:sp>
      <p:sp>
        <p:nvSpPr>
          <p:cNvPr id="13" name="TextBox 12"/>
          <p:cNvSpPr txBox="1"/>
          <p:nvPr/>
        </p:nvSpPr>
        <p:spPr>
          <a:xfrm>
            <a:off x="9346085" y="4273437"/>
            <a:ext cx="9605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400" dirty="0" err="1"/>
              <a:t>Wallbox</a:t>
            </a:r>
            <a:r>
              <a:rPr lang="fr-BE" sz="1400" dirty="0"/>
              <a:t> 1</a:t>
            </a:r>
            <a:endParaRPr lang="nl-BE" sz="1400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61640" y="3180490"/>
            <a:ext cx="1729318" cy="1729318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>
          <a:xfrm>
            <a:off x="943432" y="4643224"/>
            <a:ext cx="571701" cy="2665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 sz="800" dirty="0">
              <a:solidFill>
                <a:schemeClr val="tx1"/>
              </a:solidFill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375856" y="4643224"/>
            <a:ext cx="571701" cy="2665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800" dirty="0">
                <a:solidFill>
                  <a:schemeClr val="tx1"/>
                </a:solidFill>
              </a:rPr>
              <a:t>300mA</a:t>
            </a:r>
            <a:endParaRPr lang="nl-BE" sz="800" dirty="0">
              <a:solidFill>
                <a:schemeClr val="tx1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2974873" y="4643224"/>
            <a:ext cx="571701" cy="2665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800" dirty="0">
                <a:solidFill>
                  <a:schemeClr val="tx1"/>
                </a:solidFill>
              </a:rPr>
              <a:t>63A (*)</a:t>
            </a:r>
            <a:endParaRPr lang="nl-BE" sz="800" dirty="0">
              <a:solidFill>
                <a:schemeClr val="tx1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10567201" y="3678255"/>
            <a:ext cx="1126067" cy="1714501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BE"/>
          </a:p>
        </p:txBody>
      </p:sp>
      <p:sp>
        <p:nvSpPr>
          <p:cNvPr id="19" name="TextBox 18"/>
          <p:cNvSpPr txBox="1"/>
          <p:nvPr/>
        </p:nvSpPr>
        <p:spPr>
          <a:xfrm>
            <a:off x="10649951" y="4273437"/>
            <a:ext cx="96056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400" dirty="0" err="1"/>
              <a:t>Wallbox</a:t>
            </a:r>
            <a:r>
              <a:rPr lang="fr-BE" sz="1400" dirty="0"/>
              <a:t> 2 (*)</a:t>
            </a:r>
            <a:endParaRPr lang="nl-BE" sz="1400" dirty="0"/>
          </a:p>
        </p:txBody>
      </p:sp>
      <p:sp>
        <p:nvSpPr>
          <p:cNvPr id="20" name="Rectangle 19"/>
          <p:cNvSpPr/>
          <p:nvPr/>
        </p:nvSpPr>
        <p:spPr>
          <a:xfrm>
            <a:off x="7543997" y="3437582"/>
            <a:ext cx="571701" cy="2665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800" dirty="0">
                <a:solidFill>
                  <a:schemeClr val="tx1"/>
                </a:solidFill>
              </a:rPr>
              <a:t>32A (*)</a:t>
            </a:r>
            <a:endParaRPr lang="nl-BE" sz="800" dirty="0">
              <a:solidFill>
                <a:schemeClr val="tx1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8143014" y="3437582"/>
            <a:ext cx="571701" cy="266584"/>
          </a:xfrm>
          <a:prstGeom prst="rect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BE" sz="800" dirty="0">
                <a:solidFill>
                  <a:schemeClr val="tx1"/>
                </a:solidFill>
              </a:rPr>
              <a:t>32A (*)</a:t>
            </a:r>
            <a:endParaRPr lang="nl-BE" sz="800" dirty="0">
              <a:solidFill>
                <a:schemeClr val="tx1"/>
              </a:solidFill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 flipH="1">
            <a:off x="1049867" y="4986867"/>
            <a:ext cx="8466" cy="1007533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211667" y="5988566"/>
            <a:ext cx="846666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/>
          <p:cNvCxnSpPr>
            <a:stCxn id="2" idx="3"/>
            <a:endCxn id="5" idx="1"/>
          </p:cNvCxnSpPr>
          <p:nvPr/>
        </p:nvCxnSpPr>
        <p:spPr>
          <a:xfrm>
            <a:off x="1608667" y="3721100"/>
            <a:ext cx="668866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Box 32"/>
          <p:cNvSpPr txBox="1"/>
          <p:nvPr/>
        </p:nvSpPr>
        <p:spPr>
          <a:xfrm>
            <a:off x="152000" y="6071459"/>
            <a:ext cx="159213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dirty="0"/>
              <a:t>Connexion rue</a:t>
            </a:r>
            <a:endParaRPr lang="nl-BE" sz="1200" dirty="0"/>
          </a:p>
        </p:txBody>
      </p:sp>
      <p:sp>
        <p:nvSpPr>
          <p:cNvPr id="34" name="TextBox 33"/>
          <p:cNvSpPr txBox="1"/>
          <p:nvPr/>
        </p:nvSpPr>
        <p:spPr>
          <a:xfrm>
            <a:off x="1564417" y="3443359"/>
            <a:ext cx="11391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1200" dirty="0"/>
              <a:t>5x10mm²</a:t>
            </a:r>
            <a:endParaRPr lang="nl-BE" sz="1200" dirty="0"/>
          </a:p>
        </p:txBody>
      </p:sp>
      <p:cxnSp>
        <p:nvCxnSpPr>
          <p:cNvPr id="36" name="Straight Connector 35"/>
          <p:cNvCxnSpPr/>
          <p:nvPr/>
        </p:nvCxnSpPr>
        <p:spPr>
          <a:xfrm>
            <a:off x="2277533" y="3728825"/>
            <a:ext cx="384173" cy="0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2646032" y="3704166"/>
            <a:ext cx="8467" cy="927842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>
            <a:off x="3278713" y="3699423"/>
            <a:ext cx="8467" cy="927842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/>
          <p:cNvCxnSpPr>
            <a:stCxn id="5" idx="3"/>
          </p:cNvCxnSpPr>
          <p:nvPr/>
        </p:nvCxnSpPr>
        <p:spPr>
          <a:xfrm flipH="1">
            <a:off x="3250944" y="3721100"/>
            <a:ext cx="499789" cy="3204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/>
        </p:nvCxnSpPr>
        <p:spPr>
          <a:xfrm flipV="1">
            <a:off x="3733801" y="3725333"/>
            <a:ext cx="770466" cy="2633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 flipV="1">
            <a:off x="6740596" y="3434949"/>
            <a:ext cx="770466" cy="2633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Straight Connector 46"/>
          <p:cNvCxnSpPr/>
          <p:nvPr/>
        </p:nvCxnSpPr>
        <p:spPr>
          <a:xfrm>
            <a:off x="8763400" y="3412067"/>
            <a:ext cx="2378733" cy="22882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Straight Connector 48"/>
          <p:cNvCxnSpPr/>
          <p:nvPr/>
        </p:nvCxnSpPr>
        <p:spPr>
          <a:xfrm flipH="1">
            <a:off x="9812867" y="3412066"/>
            <a:ext cx="802" cy="262467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/>
          <p:cNvCxnSpPr/>
          <p:nvPr/>
        </p:nvCxnSpPr>
        <p:spPr>
          <a:xfrm flipH="1">
            <a:off x="11147969" y="3411556"/>
            <a:ext cx="802" cy="262467"/>
          </a:xfrm>
          <a:prstGeom prst="line">
            <a:avLst/>
          </a:prstGeom>
          <a:ln w="57150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TextBox 53"/>
          <p:cNvSpPr txBox="1"/>
          <p:nvPr/>
        </p:nvSpPr>
        <p:spPr>
          <a:xfrm>
            <a:off x="2524669" y="2455987"/>
            <a:ext cx="960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200" i="1" dirty="0"/>
              <a:t>3x 230V</a:t>
            </a:r>
            <a:br>
              <a:rPr lang="fr-BE" sz="1200" i="1" dirty="0"/>
            </a:br>
            <a:r>
              <a:rPr lang="fr-BE" sz="1200" i="1" dirty="0"/>
              <a:t>L1, L2, L3</a:t>
            </a:r>
            <a:endParaRPr lang="nl-BE" sz="1200" i="1" dirty="0"/>
          </a:p>
        </p:txBody>
      </p:sp>
      <p:sp>
        <p:nvSpPr>
          <p:cNvPr id="55" name="TextBox 54"/>
          <p:cNvSpPr txBox="1"/>
          <p:nvPr/>
        </p:nvSpPr>
        <p:spPr>
          <a:xfrm>
            <a:off x="4444998" y="2013396"/>
            <a:ext cx="960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200" i="1" dirty="0"/>
              <a:t>3x 230V</a:t>
            </a:r>
            <a:br>
              <a:rPr lang="fr-BE" sz="1200" i="1" dirty="0"/>
            </a:br>
            <a:r>
              <a:rPr lang="fr-BE" sz="1200" i="1" dirty="0"/>
              <a:t>L1, L2, L3</a:t>
            </a:r>
            <a:endParaRPr lang="nl-BE" sz="1200" i="1" dirty="0"/>
          </a:p>
        </p:txBody>
      </p:sp>
      <p:sp>
        <p:nvSpPr>
          <p:cNvPr id="56" name="TextBox 55"/>
          <p:cNvSpPr txBox="1"/>
          <p:nvPr/>
        </p:nvSpPr>
        <p:spPr>
          <a:xfrm>
            <a:off x="5757332" y="2013396"/>
            <a:ext cx="9605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200" i="1" dirty="0"/>
              <a:t>3x 380V</a:t>
            </a:r>
            <a:br>
              <a:rPr lang="fr-BE" sz="1200" i="1" dirty="0"/>
            </a:br>
            <a:r>
              <a:rPr lang="fr-BE" sz="1200" i="1" dirty="0"/>
              <a:t>L1, L2, L3+N</a:t>
            </a:r>
            <a:endParaRPr lang="nl-BE" sz="1200" i="1" dirty="0"/>
          </a:p>
        </p:txBody>
      </p:sp>
      <p:cxnSp>
        <p:nvCxnSpPr>
          <p:cNvPr id="58" name="Straight Arrow Connector 57"/>
          <p:cNvCxnSpPr/>
          <p:nvPr/>
        </p:nvCxnSpPr>
        <p:spPr>
          <a:xfrm>
            <a:off x="5405564" y="2206480"/>
            <a:ext cx="343300" cy="332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1" name="TextBox 60"/>
          <p:cNvSpPr txBox="1"/>
          <p:nvPr/>
        </p:nvSpPr>
        <p:spPr>
          <a:xfrm>
            <a:off x="6631992" y="2865452"/>
            <a:ext cx="9605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000" i="1" dirty="0"/>
              <a:t>3x 380V</a:t>
            </a:r>
            <a:br>
              <a:rPr lang="fr-BE" sz="1000" i="1" dirty="0"/>
            </a:br>
            <a:r>
              <a:rPr lang="fr-BE" sz="1000" i="1" dirty="0"/>
              <a:t>L1, L2, L3+N</a:t>
            </a:r>
            <a:endParaRPr lang="nl-BE" sz="1000" i="1" dirty="0"/>
          </a:p>
        </p:txBody>
      </p:sp>
      <p:sp>
        <p:nvSpPr>
          <p:cNvPr id="62" name="TextBox 61"/>
          <p:cNvSpPr txBox="1"/>
          <p:nvPr/>
        </p:nvSpPr>
        <p:spPr>
          <a:xfrm>
            <a:off x="3672102" y="3316097"/>
            <a:ext cx="960566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BE" sz="1000" i="1" dirty="0"/>
              <a:t>3x 230V</a:t>
            </a:r>
            <a:br>
              <a:rPr lang="fr-BE" sz="1000" i="1" dirty="0"/>
            </a:br>
            <a:r>
              <a:rPr lang="fr-BE" sz="1000" i="1" dirty="0"/>
              <a:t>L1, L2, L3</a:t>
            </a:r>
            <a:endParaRPr lang="nl-BE" sz="1000" i="1" dirty="0"/>
          </a:p>
        </p:txBody>
      </p:sp>
      <p:sp>
        <p:nvSpPr>
          <p:cNvPr id="63" name="TextBox 62"/>
          <p:cNvSpPr txBox="1"/>
          <p:nvPr/>
        </p:nvSpPr>
        <p:spPr>
          <a:xfrm>
            <a:off x="3250944" y="5871404"/>
            <a:ext cx="57318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BE" sz="2000" dirty="0"/>
              <a:t>(*) En fonction de la puissance demandée</a:t>
            </a:r>
            <a:endParaRPr lang="nl-BE" sz="2000" dirty="0"/>
          </a:p>
        </p:txBody>
      </p:sp>
    </p:spTree>
    <p:extLst>
      <p:ext uri="{BB962C8B-B14F-4D97-AF65-F5344CB8AC3E}">
        <p14:creationId xmlns:p14="http://schemas.microsoft.com/office/powerpoint/2010/main" val="4353204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977" y="137089"/>
            <a:ext cx="10515600" cy="705750"/>
          </a:xfrm>
        </p:spPr>
        <p:txBody>
          <a:bodyPr/>
          <a:lstStyle/>
          <a:p>
            <a:r>
              <a:rPr lang="fr-BE" b="1" dirty="0">
                <a:solidFill>
                  <a:schemeClr val="accent1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nexions possibles</a:t>
            </a:r>
            <a:endParaRPr lang="nl-NL" dirty="0"/>
          </a:p>
        </p:txBody>
      </p:sp>
      <p:graphicFrame>
        <p:nvGraphicFramePr>
          <p:cNvPr id="4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56272068"/>
              </p:ext>
            </p:extLst>
          </p:nvPr>
        </p:nvGraphicFramePr>
        <p:xfrm>
          <a:off x="928977" y="1153540"/>
          <a:ext cx="9813235" cy="535614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7" name="Acrobat Document" r:id="rId3" imgW="6415981" imgH="4533840" progId="AcroExch.Document.11">
                  <p:embed/>
                </p:oleObj>
              </mc:Choice>
              <mc:Fallback>
                <p:oleObj name="Acrobat Document" r:id="rId3" imgW="6415981" imgH="4533840" progId="AcroExch.Document.11">
                  <p:embed/>
                  <p:pic>
                    <p:nvPicPr>
                      <p:cNvPr id="4" name="Object 3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928977" y="1153540"/>
                        <a:ext cx="9813235" cy="535614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0125717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9194" y="77431"/>
            <a:ext cx="11572806" cy="834431"/>
          </a:xfrm>
        </p:spPr>
        <p:txBody>
          <a:bodyPr/>
          <a:lstStyle/>
          <a:p>
            <a:r>
              <a:rPr lang="fr-BE" sz="1899" dirty="0"/>
              <a:t>Impact de la charge électrique sur le réseau</a:t>
            </a:r>
            <a:endParaRPr lang="nl-BE" sz="1899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9514FC4-7E1A-40F1-B0DF-A2F4A77DA34A}"/>
              </a:ext>
            </a:extLst>
          </p:cNvPr>
          <p:cNvSpPr txBox="1"/>
          <p:nvPr/>
        </p:nvSpPr>
        <p:spPr>
          <a:xfrm>
            <a:off x="564543" y="1296063"/>
            <a:ext cx="10710407" cy="530490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fr-BE" sz="2000" dirty="0"/>
              <a:t>Consommation totale en Belgique en 2016 -&gt; 80TWh =  80,000 GWh/an</a:t>
            </a:r>
          </a:p>
          <a:p>
            <a:r>
              <a:rPr lang="fr-BE" sz="2000" dirty="0"/>
              <a:t>                                                                                  219 GWh/jour</a:t>
            </a:r>
          </a:p>
          <a:p>
            <a:endParaRPr lang="fr-BE" sz="2000" dirty="0"/>
          </a:p>
          <a:p>
            <a:endParaRPr lang="fr-BE" sz="2000" dirty="0"/>
          </a:p>
          <a:p>
            <a:r>
              <a:rPr lang="fr-BE" sz="2000" dirty="0"/>
              <a:t>6.000.000 véhicules en Belgique</a:t>
            </a:r>
          </a:p>
          <a:p>
            <a:r>
              <a:rPr lang="fr-BE" sz="2000" dirty="0"/>
              <a:t>Une moyenne de 40 km/jour </a:t>
            </a:r>
            <a:r>
              <a:rPr lang="fr-BE" sz="2000" dirty="0">
                <a:sym typeface="Wingdings" panose="05000000000000000000" pitchFamily="2" charset="2"/>
              </a:rPr>
              <a:t>  9 kWh/véhicule/jour</a:t>
            </a:r>
          </a:p>
          <a:p>
            <a:r>
              <a:rPr lang="fr-BE" sz="2000" dirty="0">
                <a:sym typeface="Wingdings" panose="05000000000000000000" pitchFamily="2" charset="2"/>
              </a:rPr>
              <a:t>Energie de charge/jour pour tous les véhicules belges = 54 GWh/jour</a:t>
            </a:r>
          </a:p>
          <a:p>
            <a:endParaRPr lang="fr-BE" sz="2000" dirty="0">
              <a:sym typeface="Wingdings" panose="05000000000000000000" pitchFamily="2" charset="2"/>
            </a:endParaRPr>
          </a:p>
          <a:p>
            <a:endParaRPr lang="fr-BE" sz="2000" dirty="0">
              <a:sym typeface="Wingdings" panose="05000000000000000000" pitchFamily="2" charset="2"/>
            </a:endParaRPr>
          </a:p>
          <a:p>
            <a:endParaRPr lang="fr-BE" sz="2000" dirty="0">
              <a:sym typeface="Wingdings" panose="05000000000000000000" pitchFamily="2" charset="2"/>
            </a:endParaRPr>
          </a:p>
          <a:p>
            <a:r>
              <a:rPr lang="fr-BE" sz="2000" dirty="0">
                <a:sym typeface="Wingdings" panose="05000000000000000000" pitchFamily="2" charset="2"/>
              </a:rPr>
              <a:t>Afin de décharger la consommation pendant les heures de pointe (entre 17h et 19h), il faut appliquer Smartgrid  Charge si la demande et le prix sont bas.</a:t>
            </a:r>
          </a:p>
          <a:p>
            <a:endParaRPr lang="fr-BE" sz="2000" dirty="0">
              <a:sym typeface="Wingdings" panose="05000000000000000000" pitchFamily="2" charset="2"/>
            </a:endParaRPr>
          </a:p>
          <a:p>
            <a:r>
              <a:rPr lang="fr-BE" sz="2000" dirty="0">
                <a:sym typeface="Wingdings" panose="05000000000000000000" pitchFamily="2" charset="2"/>
              </a:rPr>
              <a:t>Consommation famille belge :3,5MWh/an  +/-10 kWh/jour</a:t>
            </a:r>
          </a:p>
          <a:p>
            <a:endParaRPr lang="fr-BE" sz="2000" dirty="0">
              <a:sym typeface="Wingdings" panose="05000000000000000000" pitchFamily="2" charset="2"/>
            </a:endParaRPr>
          </a:p>
          <a:p>
            <a:r>
              <a:rPr lang="fr-BE" sz="2000" dirty="0">
                <a:sym typeface="Wingdings" panose="05000000000000000000" pitchFamily="2" charset="2"/>
              </a:rPr>
              <a:t>Bibliographie : Elia – </a:t>
            </a:r>
            <a:r>
              <a:rPr lang="fr-BE" sz="2000" dirty="0" err="1">
                <a:sym typeface="Wingdings" panose="05000000000000000000" pitchFamily="2" charset="2"/>
              </a:rPr>
              <a:t>Febeg</a:t>
            </a:r>
            <a:r>
              <a:rPr lang="fr-BE" sz="2000" dirty="0">
                <a:sym typeface="Wingdings" panose="05000000000000000000" pitchFamily="2" charset="2"/>
              </a:rPr>
              <a:t> - </a:t>
            </a:r>
            <a:r>
              <a:rPr lang="fr-BE" sz="2000" dirty="0" err="1">
                <a:sym typeface="Wingdings" panose="05000000000000000000" pitchFamily="2" charset="2"/>
              </a:rPr>
              <a:t>Erea</a:t>
            </a:r>
            <a:endParaRPr lang="fr-BE" sz="2000" dirty="0">
              <a:sym typeface="Wingdings" panose="05000000000000000000" pitchFamily="2" charset="2"/>
            </a:endParaRPr>
          </a:p>
          <a:p>
            <a:endParaRPr lang="nl-BE" sz="2000" dirty="0" err="1"/>
          </a:p>
        </p:txBody>
      </p:sp>
    </p:spTree>
    <p:extLst>
      <p:ext uri="{BB962C8B-B14F-4D97-AF65-F5344CB8AC3E}">
        <p14:creationId xmlns:p14="http://schemas.microsoft.com/office/powerpoint/2010/main" val="7857360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8BF23BC-F591-46D6-83A5-8C63301CD0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3710" y="53577"/>
            <a:ext cx="10213636" cy="834431"/>
          </a:xfrm>
        </p:spPr>
        <p:txBody>
          <a:bodyPr/>
          <a:lstStyle/>
          <a:p>
            <a:r>
              <a:rPr lang="fr-BE" dirty="0"/>
              <a:t>Questions ? </a:t>
            </a:r>
            <a:endParaRPr lang="nl-B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4085A9C-DCE7-4C66-89E5-5A913C5ADC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3710" y="1172855"/>
            <a:ext cx="7930692" cy="5383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56669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/>
              <a:t>Energie électrique en Belgique</a:t>
            </a:r>
            <a:endParaRPr lang="nl-BE" sz="1899" dirty="0"/>
          </a:p>
        </p:txBody>
      </p:sp>
      <p:pic>
        <p:nvPicPr>
          <p:cNvPr id="6149" name="Picture 5" descr="https://www.febeg.be/sites/default/files/Pictures/Economy/Statistics/StatisticsAnnualReport-2016/LDforWebsite/total_net_electricity_production_in_belgium_by_source_in_2016_7982_twh.png">
            <a:extLst>
              <a:ext uri="{FF2B5EF4-FFF2-40B4-BE49-F238E27FC236}">
                <a16:creationId xmlns:a16="http://schemas.microsoft.com/office/drawing/2014/main" id="{5879A9C0-8A64-4C55-9915-0DBB68EA3C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149" y="1415332"/>
            <a:ext cx="5112689" cy="44447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51" name="Picture 7" descr="https://www.febeg.be/sites/default/files/Pictures/Economy/Statistics/StatisticsAnnualReport-2016/LDforWebsite/gross_electricity_generation_by_renwables_in_belgium_twh.jpg">
            <a:extLst>
              <a:ext uri="{FF2B5EF4-FFF2-40B4-BE49-F238E27FC236}">
                <a16:creationId xmlns:a16="http://schemas.microsoft.com/office/drawing/2014/main" id="{E1A5B2C1-2D3D-465F-8977-F93368B0170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10943" y="1415332"/>
            <a:ext cx="5692140" cy="4572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6077963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/>
              <a:t>Energie électrique en Belgique</a:t>
            </a:r>
            <a:endParaRPr lang="nl-BE" sz="1899" dirty="0"/>
          </a:p>
        </p:txBody>
      </p:sp>
      <p:pic>
        <p:nvPicPr>
          <p:cNvPr id="7173" name="Picture 5" descr="https://www.febeg.be/sites/default/files/Pictures/Economy/Statistics/StatisticsAnnualReport-2016/LDforWebsite/total_imports_total_exports_and_total_net_inports_in_belgium_twh.png">
            <a:extLst>
              <a:ext uri="{FF2B5EF4-FFF2-40B4-BE49-F238E27FC236}">
                <a16:creationId xmlns:a16="http://schemas.microsoft.com/office/drawing/2014/main" id="{54049C2F-6E22-434A-B5AD-CF1DAE6D37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5511" y="1415332"/>
            <a:ext cx="4190586" cy="4738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176" name="Picture 8" descr="https://www.febeg.be/sites/default/files/Pictures/Economy/Statistics/StatisticsAnnualReport-2016/LDforWebsite/installed_capacity_in_belgium.png">
            <a:extLst>
              <a:ext uri="{FF2B5EF4-FFF2-40B4-BE49-F238E27FC236}">
                <a16:creationId xmlns:a16="http://schemas.microsoft.com/office/drawing/2014/main" id="{0E2B6E1E-F9AB-4054-B434-7DCFCF6F9D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7496" y="1879821"/>
            <a:ext cx="6419850" cy="381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206616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/>
              <a:t>Energie électrique en Belgique</a:t>
            </a:r>
            <a:endParaRPr lang="nl-BE" sz="1899" dirty="0"/>
          </a:p>
        </p:txBody>
      </p:sp>
      <p:pic>
        <p:nvPicPr>
          <p:cNvPr id="20484" name="Picture 4" descr="https://www.febeg.be/sites/default/files/Pictures/Economy/Statistics/StatisticsAnnualReport-2016/LDforWebsite/load_factor.jpg">
            <a:extLst>
              <a:ext uri="{FF2B5EF4-FFF2-40B4-BE49-F238E27FC236}">
                <a16:creationId xmlns:a16="http://schemas.microsoft.com/office/drawing/2014/main" id="{B1FC94F2-7AFD-405D-8072-03DB92D4C52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4540" y="1598212"/>
            <a:ext cx="5786403" cy="43892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6" name="Picture 6" descr="https://www.febeg.be/sites/default/files/Pictures/Economy/Statistics/StatisticsAnnualReport-2016/LDforWebsite/final_observed_electricity_consumption_by_sector_in_belgium_in_2015_8314_twh.jpg">
            <a:extLst>
              <a:ext uri="{FF2B5EF4-FFF2-40B4-BE49-F238E27FC236}">
                <a16:creationId xmlns:a16="http://schemas.microsoft.com/office/drawing/2014/main" id="{D4048392-9F0C-4D42-AC9D-558E6E5D67A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4786" y="1598212"/>
            <a:ext cx="6157214" cy="39713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14924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4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/>
              <a:t>Energie électrique en Belgique</a:t>
            </a:r>
            <a:endParaRPr lang="nl-BE" sz="1899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230CDFD1-B44F-4954-9209-0D0DC91AA18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4540" y="1089328"/>
            <a:ext cx="5866159" cy="5311472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A0B656F-7726-49D5-80F8-1E62A1EB86D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44208" y="1089328"/>
            <a:ext cx="6249725" cy="54386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56949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65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/>
              <a:t>Energie électrique en Belgique</a:t>
            </a:r>
            <a:endParaRPr lang="nl-BE" sz="1899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F6A793E-375F-4FE1-BEA3-CEFD5C700E4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0" y="1232452"/>
            <a:ext cx="5527157" cy="5192201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70315398-BC74-4B5F-B74E-A1270D2EE0B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716987" y="1296062"/>
            <a:ext cx="6202017" cy="5224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9747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8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/>
              <a:t>Energie électrique en Belgique</a:t>
            </a:r>
            <a:endParaRPr lang="nl-BE" sz="1899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37BB14-4E7A-45CC-9D57-E58EC9ACE1F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52939" y="1097279"/>
            <a:ext cx="9962984" cy="5351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7443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79343" y="1509"/>
          <a:ext cx="1507" cy="150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30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79343" y="1509"/>
                        <a:ext cx="1507" cy="150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207AAE-1CF5-4609-B67A-29EC02B292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BE" sz="1899" dirty="0" err="1"/>
              <a:t>Milestones</a:t>
            </a:r>
            <a:r>
              <a:rPr lang="fr-BE" sz="1899" dirty="0"/>
              <a:t>  3Q 2017</a:t>
            </a:r>
            <a:endParaRPr lang="nl-BE" sz="1899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A856D07-05D4-4453-BFCE-DDA2219022B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9491" y="1315620"/>
            <a:ext cx="10990143" cy="5188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37885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O.PI6RTYGxZxJFCM_E4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gIC1eWeSfasJSqsWnoHr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eQpNRTQiybPauNK78l.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ly083_RBWVrZQQnRIQ7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4xHBYzSPyDI3G45V1X2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3Zp0p6rSCSzSNxtq7De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wFWJqYQ4yuhGw6GIOC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yNQJI.QMyTEnEi2BGPq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lzv_rzpT1atVPMJlvW6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5um3M3pRoK4HLxXB2cRe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GX0pepSRlmmxBoGU.abS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HX12hNQGOR.ytUo1yPg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oamXkvTziiu.ZobG1q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vbSUeF1RoywV592RTuOn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sZIaxcQGm1fSnMzzpcv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muQeQqrSYK3IexqNHiw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2/17/2012 11:08:10 AM"/>
  <p:tag name="VCT-TEMPLATE" val="Bain A4.potx"/>
  <p:tag name="VCTMASTER" val="Bain A4"/>
  <p:tag name="VCTORDER" val="1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eU_N2xRF2rUV9bjTCfx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34z6kxS.e_nTf0q1Fr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lHjYlJmS_6RF2oCAv4KM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EqaPbYTli1IroKHP3HA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VGWJ65TMCTsAFU.3g0B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4VlHEH5QTeFISV0y14yz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eQzTJWcSeSaIvfgXXAPJ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MPFVvoJRcGkQ.obeMg6R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F6udNeT0an7w.R.SVg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cQkSNRwSU.0rPpHPGli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OhMZvlTIWBbSSwRD6Rj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pUIZioQGKcg_fLVQUU7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hcVuWTSwWMjkgg_YaVs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M2.R2hS2Gaz9flOwNC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bD75n_IRRSGCRS86GHhN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IEWA9jRrqSIMQgJZSuy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_SPSVLKRka4Q6TWIB1TE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xXz0PpnS1SJGXlVWzhH3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0BT2GPS52W_OLd8Op26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bxxLOpSWyBkbj8hTTx4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SdFeWR4TsWXBt42h5689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0nGzy9NTTOXZ5gHw59Mg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XC74EzPSHK8nUHrz0QJ9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H6Pc8.Tb6NcrStM1wpA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QG5AR3RNaXGCkks0KMS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v1bGK9T1qpwisJjmi63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_9Kd8NSj.03VHPrXcn3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qRPk_bnSimGKPKszDgvx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dM.NzVbSZKlP8Z_2Wvc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18YqLeQSuQ9S_ndGfDE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bsqvNd7RT2RMtwpgFPnO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ex.11pBkaelBCxwdHXx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O.PI6RTYGxZxJFCM_E4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Bain A4">
  <a:themeElements>
    <a:clrScheme name="bain_latest">
      <a:dk1>
        <a:sysClr val="windowText" lastClr="000000"/>
      </a:dk1>
      <a:lt1>
        <a:srgbClr val="DDDDDD"/>
      </a:lt1>
      <a:dk2>
        <a:srgbClr val="FFFFFF"/>
      </a:dk2>
      <a:lt2>
        <a:srgbClr val="FFFFFF"/>
      </a:lt2>
      <a:accent1>
        <a:srgbClr val="DDDDDD"/>
      </a:accent1>
      <a:accent2>
        <a:srgbClr val="FFFFFF"/>
      </a:accent2>
      <a:accent3>
        <a:srgbClr val="CC0000"/>
      </a:accent3>
      <a:accent4>
        <a:srgbClr val="B2B2B2"/>
      </a:accent4>
      <a:accent5>
        <a:srgbClr val="777777"/>
      </a:accent5>
      <a:accent6>
        <a:srgbClr val="333333"/>
      </a:accent6>
      <a:hlink>
        <a:srgbClr val="000000"/>
      </a:hlink>
      <a:folHlink>
        <a:srgbClr val="CC0000"/>
      </a:folHlink>
    </a:clrScheme>
    <a:fontScheme name="1 - Letter CFR R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4"/>
        </a:solidFill>
        <a:ln w="19050">
          <a:noFill/>
        </a:ln>
      </a:spPr>
      <a:bodyPr lIns="0" tIns="0" rIns="0" bIns="0" rtlCol="0" anchor="ctr"/>
      <a:lstStyle>
        <a:defPPr algn="ctr">
          <a:defRPr sz="20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rgbClr val="08080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822</Words>
  <Application>Microsoft Office PowerPoint</Application>
  <PresentationFormat>Widescreen</PresentationFormat>
  <Paragraphs>252</Paragraphs>
  <Slides>24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3</vt:i4>
      </vt:variant>
      <vt:variant>
        <vt:lpstr>Slide Titles</vt:lpstr>
      </vt:variant>
      <vt:variant>
        <vt:i4>24</vt:i4>
      </vt:variant>
    </vt:vector>
  </HeadingPairs>
  <TitlesOfParts>
    <vt:vector size="39" baseType="lpstr">
      <vt:lpstr>Arial</vt:lpstr>
      <vt:lpstr>Arial Narrow</vt:lpstr>
      <vt:lpstr>Bookman Old Style</vt:lpstr>
      <vt:lpstr>Calibri</vt:lpstr>
      <vt:lpstr>Calibri Light</vt:lpstr>
      <vt:lpstr>Marlett</vt:lpstr>
      <vt:lpstr>Verdana</vt:lpstr>
      <vt:lpstr>VW Headline OT-Book</vt:lpstr>
      <vt:lpstr>Wingdings</vt:lpstr>
      <vt:lpstr>Office Theme</vt:lpstr>
      <vt:lpstr>2_Bain A4</vt:lpstr>
      <vt:lpstr>1_Office Theme</vt:lpstr>
      <vt:lpstr>think-cell Slide</vt:lpstr>
      <vt:lpstr>Chart</vt:lpstr>
      <vt:lpstr>Acrobat Document</vt:lpstr>
      <vt:lpstr>   Charge véhicules électriques, où en est-on ?   Bart Van Dorpe /        Technology Development Manager </vt:lpstr>
      <vt:lpstr>Qui sommes-nous ?  </vt:lpstr>
      <vt:lpstr>Energie électrique en Belgique</vt:lpstr>
      <vt:lpstr>Energie électrique en Belgique</vt:lpstr>
      <vt:lpstr>Energie électrique en Belgique</vt:lpstr>
      <vt:lpstr>Energie électrique en Belgique</vt:lpstr>
      <vt:lpstr>Energie électrique en Belgique</vt:lpstr>
      <vt:lpstr>Energie électrique en Belgique</vt:lpstr>
      <vt:lpstr>Milestones  3Q 2017</vt:lpstr>
      <vt:lpstr>Belgian (PH)EV Market development ['000 units, 2017 – 2030]</vt:lpstr>
      <vt:lpstr>Tax incentives on EV's in European countries</vt:lpstr>
      <vt:lpstr>Expansion of EV charging infrastructure in EU</vt:lpstr>
      <vt:lpstr>Drive Concepts</vt:lpstr>
      <vt:lpstr>Système haute tension</vt:lpstr>
      <vt:lpstr>Système haute tension</vt:lpstr>
      <vt:lpstr>Système haute tension</vt:lpstr>
      <vt:lpstr>Charging: Technologies</vt:lpstr>
      <vt:lpstr>Situation actuelle charge Infra - 3 possibilités</vt:lpstr>
      <vt:lpstr>Réseau électrique belge</vt:lpstr>
      <vt:lpstr>Existe-t-il une solution ?</vt:lpstr>
      <vt:lpstr>Disposition possible</vt:lpstr>
      <vt:lpstr>Connexions possibles</vt:lpstr>
      <vt:lpstr>Impact de la charge électrique sur le réseau</vt:lpstr>
      <vt:lpstr>Questions ?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VAN DORPE Bart</dc:creator>
  <cp:lastModifiedBy>EULAERTS Dominiek</cp:lastModifiedBy>
  <cp:revision>74</cp:revision>
  <cp:lastPrinted>2018-04-12T09:17:05Z</cp:lastPrinted>
  <dcterms:created xsi:type="dcterms:W3CDTF">2018-01-15T12:59:31Z</dcterms:created>
  <dcterms:modified xsi:type="dcterms:W3CDTF">2018-04-16T08:47:57Z</dcterms:modified>
</cp:coreProperties>
</file>